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3"/>
  </p:notesMasterIdLst>
  <p:sldIdLst>
    <p:sldId id="257" r:id="rId5"/>
    <p:sldId id="2407" r:id="rId6"/>
    <p:sldId id="258" r:id="rId7"/>
    <p:sldId id="260" r:id="rId8"/>
    <p:sldId id="2577" r:id="rId9"/>
    <p:sldId id="2578" r:id="rId10"/>
    <p:sldId id="259" r:id="rId11"/>
    <p:sldId id="588" r:id="rId12"/>
  </p:sldIdLst>
  <p:sldSz cx="20104100" cy="11309350"/>
  <p:notesSz cx="20104100" cy="1130935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4" userDrawn="1">
          <p15:clr>
            <a:srgbClr val="A4A3A4"/>
          </p15:clr>
        </p15:guide>
        <p15:guide id="2" pos="215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8374CAF-320D-016D-2C42-4C7DEB25CD63}" name="Kelly Felix" initials="KF" userId="S::kelly.felix@abconsindcon.com.br::9383efe9-9478-4bf2-8b49-d39626426c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C42E"/>
    <a:srgbClr val="62A8A4"/>
    <a:srgbClr val="BFBFBF"/>
    <a:srgbClr val="2A798E"/>
    <a:srgbClr val="A6A6A6"/>
    <a:srgbClr val="948A54"/>
    <a:srgbClr val="8D683A"/>
    <a:srgbClr val="FFFFFF"/>
    <a:srgbClr val="348FB5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252F1B-A6DA-4E8A-8911-9DB2571E7116}" v="307" dt="2023-08-29T22:01:06.64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Estilo Claro 2 - Ênfas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Estilo Médio 1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162" autoAdjust="0"/>
  </p:normalViewPr>
  <p:slideViewPr>
    <p:cSldViewPr snapToGrid="0">
      <p:cViewPr varScale="1">
        <p:scale>
          <a:sx n="42" d="100"/>
          <a:sy n="42" d="100"/>
        </p:scale>
        <p:origin x="756" y="114"/>
      </p:cViewPr>
      <p:guideLst>
        <p:guide orient="horz" pos="2904"/>
        <p:guide pos="21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ana Ferreira" userId="ef46969b-0d75-4852-a2b0-2fc45c93ff40" providerId="ADAL" clId="{750DF846-2BE5-4930-8E4B-45C48CBFA027}"/>
    <pc:docChg chg="custSel addSld delSld modSld modMainMaster">
      <pc:chgData name="Ilana Ferreira" userId="ef46969b-0d75-4852-a2b0-2fc45c93ff40" providerId="ADAL" clId="{750DF846-2BE5-4930-8E4B-45C48CBFA027}" dt="2023-08-28T17:15:54.012" v="149" actId="403"/>
      <pc:docMkLst>
        <pc:docMk/>
      </pc:docMkLst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963482743" sldId="588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1459449787" sldId="2550"/>
        </pc:sldMkLst>
      </pc:sldChg>
      <pc:sldChg chg="modSp modTransition">
        <pc:chgData name="Ilana Ferreira" userId="ef46969b-0d75-4852-a2b0-2fc45c93ff40" providerId="ADAL" clId="{750DF846-2BE5-4930-8E4B-45C48CBFA027}" dt="2023-08-28T17:15:54.012" v="149" actId="403"/>
        <pc:sldMkLst>
          <pc:docMk/>
          <pc:sldMk cId="1950976640" sldId="2552"/>
        </pc:sldMkLst>
        <pc:graphicFrameChg chg="mod">
          <ac:chgData name="Ilana Ferreira" userId="ef46969b-0d75-4852-a2b0-2fc45c93ff40" providerId="ADAL" clId="{750DF846-2BE5-4930-8E4B-45C48CBFA027}" dt="2023-08-28T17:15:51.608" v="148" actId="403"/>
          <ac:graphicFrameMkLst>
            <pc:docMk/>
            <pc:sldMk cId="1950976640" sldId="2552"/>
            <ac:graphicFrameMk id="10" creationId="{EE046557-5BF1-2A8F-5D1B-51C2AD40308F}"/>
          </ac:graphicFrameMkLst>
        </pc:graphicFrameChg>
        <pc:graphicFrameChg chg="mod">
          <ac:chgData name="Ilana Ferreira" userId="ef46969b-0d75-4852-a2b0-2fc45c93ff40" providerId="ADAL" clId="{750DF846-2BE5-4930-8E4B-45C48CBFA027}" dt="2023-08-28T17:15:54.012" v="149" actId="403"/>
          <ac:graphicFrameMkLst>
            <pc:docMk/>
            <pc:sldMk cId="1950976640" sldId="2552"/>
            <ac:graphicFrameMk id="12" creationId="{0C6CBF45-ADC3-EEF7-71EC-8F49D154905D}"/>
          </ac:graphicFrameMkLst>
        </pc:graphicFrameChg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010713868" sldId="2555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329584087" sldId="2556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402956258" sldId="2557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294816459" sldId="2561"/>
        </pc:sldMkLst>
      </pc:sldChg>
      <pc:sldChg chg="modSp del mod">
        <pc:chgData name="Ilana Ferreira" userId="ef46969b-0d75-4852-a2b0-2fc45c93ff40" providerId="ADAL" clId="{750DF846-2BE5-4930-8E4B-45C48CBFA027}" dt="2023-08-28T16:52:21.234" v="52" actId="47"/>
        <pc:sldMkLst>
          <pc:docMk/>
          <pc:sldMk cId="2173834345" sldId="2562"/>
        </pc:sldMkLst>
        <pc:graphicFrameChg chg="mod">
          <ac:chgData name="Ilana Ferreira" userId="ef46969b-0d75-4852-a2b0-2fc45c93ff40" providerId="ADAL" clId="{750DF846-2BE5-4930-8E4B-45C48CBFA027}" dt="2023-08-28T16:27:38.770" v="9"/>
          <ac:graphicFrameMkLst>
            <pc:docMk/>
            <pc:sldMk cId="2173834345" sldId="2562"/>
            <ac:graphicFrameMk id="3" creationId="{AF51C551-6D30-4122-8AB9-021945711297}"/>
          </ac:graphicFrameMkLst>
        </pc:graphicFrameChg>
      </pc:sldChg>
      <pc:sldChg chg="addSp modSp del mod">
        <pc:chgData name="Ilana Ferreira" userId="ef46969b-0d75-4852-a2b0-2fc45c93ff40" providerId="ADAL" clId="{750DF846-2BE5-4930-8E4B-45C48CBFA027}" dt="2023-08-28T17:07:09.463" v="117" actId="47"/>
        <pc:sldMkLst>
          <pc:docMk/>
          <pc:sldMk cId="1741083817" sldId="2563"/>
        </pc:sldMkLst>
        <pc:spChg chg="add mod">
          <ac:chgData name="Ilana Ferreira" userId="ef46969b-0d75-4852-a2b0-2fc45c93ff40" providerId="ADAL" clId="{750DF846-2BE5-4930-8E4B-45C48CBFA027}" dt="2023-08-28T16:56:13.970" v="68" actId="1038"/>
          <ac:spMkLst>
            <pc:docMk/>
            <pc:sldMk cId="1741083817" sldId="2563"/>
            <ac:spMk id="10" creationId="{493D34D7-6775-5BD3-F32E-301FDC23B792}"/>
          </ac:spMkLst>
        </pc:spChg>
        <pc:spChg chg="add mod">
          <ac:chgData name="Ilana Ferreira" userId="ef46969b-0d75-4852-a2b0-2fc45c93ff40" providerId="ADAL" clId="{750DF846-2BE5-4930-8E4B-45C48CBFA027}" dt="2023-08-28T16:56:59.940" v="90" actId="1076"/>
          <ac:spMkLst>
            <pc:docMk/>
            <pc:sldMk cId="1741083817" sldId="2563"/>
            <ac:spMk id="12" creationId="{EF5FC5ED-7B43-E6D1-A4D2-5F1A1426D408}"/>
          </ac:spMkLst>
        </pc:spChg>
      </pc:sldChg>
      <pc:sldChg chg="del">
        <pc:chgData name="Ilana Ferreira" userId="ef46969b-0d75-4852-a2b0-2fc45c93ff40" providerId="ADAL" clId="{750DF846-2BE5-4930-8E4B-45C48CBFA027}" dt="2023-08-28T17:12:36.006" v="144" actId="47"/>
        <pc:sldMkLst>
          <pc:docMk/>
          <pc:sldMk cId="3209463855" sldId="2565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1594179578" sldId="2566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482121332" sldId="2567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2993942827" sldId="2568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957592729" sldId="2569"/>
        </pc:sldMkLst>
      </pc:sldChg>
      <pc:sldChg chg="modTransition">
        <pc:chgData name="Ilana Ferreira" userId="ef46969b-0d75-4852-a2b0-2fc45c93ff40" providerId="ADAL" clId="{750DF846-2BE5-4930-8E4B-45C48CBFA027}" dt="2023-08-28T17:15:22.612" v="147"/>
        <pc:sldMkLst>
          <pc:docMk/>
          <pc:sldMk cId="3371340282" sldId="2570"/>
        </pc:sldMkLst>
      </pc:sldChg>
      <pc:sldChg chg="addSp delSp modSp add mod modTransition">
        <pc:chgData name="Ilana Ferreira" userId="ef46969b-0d75-4852-a2b0-2fc45c93ff40" providerId="ADAL" clId="{750DF846-2BE5-4930-8E4B-45C48CBFA027}" dt="2023-08-28T17:15:22.612" v="147"/>
        <pc:sldMkLst>
          <pc:docMk/>
          <pc:sldMk cId="2315773422" sldId="2571"/>
        </pc:sldMkLst>
        <pc:graphicFrameChg chg="add del mod">
          <ac:chgData name="Ilana Ferreira" userId="ef46969b-0d75-4852-a2b0-2fc45c93ff40" providerId="ADAL" clId="{750DF846-2BE5-4930-8E4B-45C48CBFA027}" dt="2023-08-28T16:49:30.104" v="30" actId="478"/>
          <ac:graphicFrameMkLst>
            <pc:docMk/>
            <pc:sldMk cId="2315773422" sldId="2571"/>
            <ac:graphicFrameMk id="2" creationId="{AF51C551-6D30-4122-8AB9-021945711297}"/>
          </ac:graphicFrameMkLst>
        </pc:graphicFrameChg>
        <pc:graphicFrameChg chg="del">
          <ac:chgData name="Ilana Ferreira" userId="ef46969b-0d75-4852-a2b0-2fc45c93ff40" providerId="ADAL" clId="{750DF846-2BE5-4930-8E4B-45C48CBFA027}" dt="2023-08-28T16:27:27.595" v="4" actId="478"/>
          <ac:graphicFrameMkLst>
            <pc:docMk/>
            <pc:sldMk cId="2315773422" sldId="2571"/>
            <ac:graphicFrameMk id="3" creationId="{AF51C551-6D30-4122-8AB9-021945711297}"/>
          </ac:graphicFrameMkLst>
        </pc:graphicFrameChg>
        <pc:graphicFrameChg chg="add mod">
          <ac:chgData name="Ilana Ferreira" userId="ef46969b-0d75-4852-a2b0-2fc45c93ff40" providerId="ADAL" clId="{750DF846-2BE5-4930-8E4B-45C48CBFA027}" dt="2023-08-28T16:52:05.779" v="50" actId="207"/>
          <ac:graphicFrameMkLst>
            <pc:docMk/>
            <pc:sldMk cId="2315773422" sldId="2571"/>
            <ac:graphicFrameMk id="5" creationId="{AF51C551-6D30-4122-8AB9-021945711297}"/>
          </ac:graphicFrameMkLst>
        </pc:graphicFrameChg>
        <pc:graphicFrameChg chg="add del mod">
          <ac:chgData name="Ilana Ferreira" userId="ef46969b-0d75-4852-a2b0-2fc45c93ff40" providerId="ADAL" clId="{750DF846-2BE5-4930-8E4B-45C48CBFA027}" dt="2023-08-28T16:52:10.779" v="51" actId="478"/>
          <ac:graphicFrameMkLst>
            <pc:docMk/>
            <pc:sldMk cId="2315773422" sldId="2571"/>
            <ac:graphicFrameMk id="9" creationId="{285D6E06-D488-C1D9-8056-6BDB3EB79A08}"/>
          </ac:graphicFrameMkLst>
        </pc:graphicFrameChg>
      </pc:sldChg>
      <pc:sldChg chg="addSp delSp modSp add mod modTransition">
        <pc:chgData name="Ilana Ferreira" userId="ef46969b-0d75-4852-a2b0-2fc45c93ff40" providerId="ADAL" clId="{750DF846-2BE5-4930-8E4B-45C48CBFA027}" dt="2023-08-28T17:15:22.612" v="147"/>
        <pc:sldMkLst>
          <pc:docMk/>
          <pc:sldMk cId="889191230" sldId="2572"/>
        </pc:sldMkLst>
        <pc:spChg chg="del">
          <ac:chgData name="Ilana Ferreira" userId="ef46969b-0d75-4852-a2b0-2fc45c93ff40" providerId="ADAL" clId="{750DF846-2BE5-4930-8E4B-45C48CBFA027}" dt="2023-08-28T16:57:44.673" v="93" actId="478"/>
          <ac:spMkLst>
            <pc:docMk/>
            <pc:sldMk cId="889191230" sldId="2572"/>
            <ac:spMk id="10" creationId="{493D34D7-6775-5BD3-F32E-301FDC23B792}"/>
          </ac:spMkLst>
        </pc:spChg>
        <pc:spChg chg="del">
          <ac:chgData name="Ilana Ferreira" userId="ef46969b-0d75-4852-a2b0-2fc45c93ff40" providerId="ADAL" clId="{750DF846-2BE5-4930-8E4B-45C48CBFA027}" dt="2023-08-28T16:57:44.673" v="93" actId="478"/>
          <ac:spMkLst>
            <pc:docMk/>
            <pc:sldMk cId="889191230" sldId="2572"/>
            <ac:spMk id="12" creationId="{EF5FC5ED-7B43-E6D1-A4D2-5F1A1426D408}"/>
          </ac:spMkLst>
        </pc:spChg>
        <pc:graphicFrameChg chg="del">
          <ac:chgData name="Ilana Ferreira" userId="ef46969b-0d75-4852-a2b0-2fc45c93ff40" providerId="ADAL" clId="{750DF846-2BE5-4930-8E4B-45C48CBFA027}" dt="2023-08-28T16:57:41.003" v="92" actId="478"/>
          <ac:graphicFrameMkLst>
            <pc:docMk/>
            <pc:sldMk cId="889191230" sldId="2572"/>
            <ac:graphicFrameMk id="8" creationId="{054EDFC9-B12D-4927-958E-BB793FDB7E98}"/>
          </ac:graphicFrameMkLst>
        </pc:graphicFrameChg>
        <pc:graphicFrameChg chg="add mod">
          <ac:chgData name="Ilana Ferreira" userId="ef46969b-0d75-4852-a2b0-2fc45c93ff40" providerId="ADAL" clId="{750DF846-2BE5-4930-8E4B-45C48CBFA027}" dt="2023-08-28T17:07:06.078" v="116" actId="14100"/>
          <ac:graphicFrameMkLst>
            <pc:docMk/>
            <pc:sldMk cId="889191230" sldId="2572"/>
            <ac:graphicFrameMk id="13" creationId="{054EDFC9-B12D-4927-958E-BB793FDB7E98}"/>
          </ac:graphicFrameMkLst>
        </pc:graphicFrameChg>
        <pc:graphicFrameChg chg="add del mod">
          <ac:chgData name="Ilana Ferreira" userId="ef46969b-0d75-4852-a2b0-2fc45c93ff40" providerId="ADAL" clId="{750DF846-2BE5-4930-8E4B-45C48CBFA027}" dt="2023-08-28T17:02:37.624" v="112" actId="478"/>
          <ac:graphicFrameMkLst>
            <pc:docMk/>
            <pc:sldMk cId="889191230" sldId="2572"/>
            <ac:graphicFrameMk id="14" creationId="{B0DDD8A2-1273-F570-2EC2-DF13E0545E57}"/>
          </ac:graphicFrameMkLst>
        </pc:graphicFrameChg>
      </pc:sldChg>
      <pc:sldChg chg="addSp delSp modSp add mod modTransition">
        <pc:chgData name="Ilana Ferreira" userId="ef46969b-0d75-4852-a2b0-2fc45c93ff40" providerId="ADAL" clId="{750DF846-2BE5-4930-8E4B-45C48CBFA027}" dt="2023-08-28T17:15:22.612" v="147"/>
        <pc:sldMkLst>
          <pc:docMk/>
          <pc:sldMk cId="2772682113" sldId="2573"/>
        </pc:sldMkLst>
        <pc:graphicFrameChg chg="add del mod">
          <ac:chgData name="Ilana Ferreira" userId="ef46969b-0d75-4852-a2b0-2fc45c93ff40" providerId="ADAL" clId="{750DF846-2BE5-4930-8E4B-45C48CBFA027}" dt="2023-08-28T17:10:28.439" v="125" actId="478"/>
          <ac:graphicFrameMkLst>
            <pc:docMk/>
            <pc:sldMk cId="2772682113" sldId="2573"/>
            <ac:graphicFrameMk id="8" creationId="{3AEF57DC-40F1-4DA2-90F5-2244AE6522DE}"/>
          </ac:graphicFrameMkLst>
        </pc:graphicFrameChg>
        <pc:graphicFrameChg chg="del mod">
          <ac:chgData name="Ilana Ferreira" userId="ef46969b-0d75-4852-a2b0-2fc45c93ff40" providerId="ADAL" clId="{750DF846-2BE5-4930-8E4B-45C48CBFA027}" dt="2023-08-28T17:12:27.922" v="143" actId="478"/>
          <ac:graphicFrameMkLst>
            <pc:docMk/>
            <pc:sldMk cId="2772682113" sldId="2573"/>
            <ac:graphicFrameMk id="10" creationId="{3AEF57DC-40F1-4DA2-90F5-2244AE6522DE}"/>
          </ac:graphicFrameMkLst>
        </pc:graphicFrameChg>
        <pc:graphicFrameChg chg="add mod">
          <ac:chgData name="Ilana Ferreira" userId="ef46969b-0d75-4852-a2b0-2fc45c93ff40" providerId="ADAL" clId="{750DF846-2BE5-4930-8E4B-45C48CBFA027}" dt="2023-08-28T17:12:41.224" v="145" actId="14100"/>
          <ac:graphicFrameMkLst>
            <pc:docMk/>
            <pc:sldMk cId="2772682113" sldId="2573"/>
            <ac:graphicFrameMk id="13" creationId="{3AEF57DC-40F1-4DA2-90F5-2244AE6522DE}"/>
          </ac:graphicFrameMkLst>
        </pc:graphicFrameChg>
      </pc:sldChg>
      <pc:sldMasterChg chg="modTransition modSldLayout">
        <pc:chgData name="Ilana Ferreira" userId="ef46969b-0d75-4852-a2b0-2fc45c93ff40" providerId="ADAL" clId="{750DF846-2BE5-4930-8E4B-45C48CBFA027}" dt="2023-08-28T17:15:22.612" v="147"/>
        <pc:sldMasterMkLst>
          <pc:docMk/>
          <pc:sldMasterMk cId="0" sldId="2147483648"/>
        </pc:sldMasterMkLst>
        <pc:sldLayoutChg chg="modTransition">
          <pc:chgData name="Ilana Ferreira" userId="ef46969b-0d75-4852-a2b0-2fc45c93ff40" providerId="ADAL" clId="{750DF846-2BE5-4930-8E4B-45C48CBFA027}" dt="2023-08-28T17:15:22.612" v="147"/>
          <pc:sldLayoutMkLst>
            <pc:docMk/>
            <pc:sldMasterMk cId="0" sldId="2147483648"/>
            <pc:sldLayoutMk cId="0" sldId="2147483662"/>
          </pc:sldLayoutMkLst>
        </pc:sldLayoutChg>
        <pc:sldLayoutChg chg="modTransition">
          <pc:chgData name="Ilana Ferreira" userId="ef46969b-0d75-4852-a2b0-2fc45c93ff40" providerId="ADAL" clId="{750DF846-2BE5-4930-8E4B-45C48CBFA027}" dt="2023-08-28T17:15:22.612" v="147"/>
          <pc:sldLayoutMkLst>
            <pc:docMk/>
            <pc:sldMasterMk cId="0" sldId="2147483648"/>
            <pc:sldLayoutMk cId="0" sldId="2147483663"/>
          </pc:sldLayoutMkLst>
        </pc:sldLayoutChg>
        <pc:sldLayoutChg chg="modTransition">
          <pc:chgData name="Ilana Ferreira" userId="ef46969b-0d75-4852-a2b0-2fc45c93ff40" providerId="ADAL" clId="{750DF846-2BE5-4930-8E4B-45C48CBFA027}" dt="2023-08-28T17:15:22.612" v="147"/>
          <pc:sldLayoutMkLst>
            <pc:docMk/>
            <pc:sldMasterMk cId="0" sldId="2147483648"/>
            <pc:sldLayoutMk cId="1804671016" sldId="2147483667"/>
          </pc:sldLayoutMkLst>
        </pc:sldLayoutChg>
      </pc:sldMasterChg>
    </pc:docChg>
  </pc:docChgLst>
  <pc:docChgLst>
    <pc:chgData name="Julia Soares De Souza" userId="953dcab7-42c6-4562-93dc-3865f4a21f8b" providerId="ADAL" clId="{F631C316-402C-4C00-92DE-945D185B3588}"/>
    <pc:docChg chg="undo custSel addSld delSld modSld sldOrd">
      <pc:chgData name="Julia Soares De Souza" userId="953dcab7-42c6-4562-93dc-3865f4a21f8b" providerId="ADAL" clId="{F631C316-402C-4C00-92DE-945D185B3588}" dt="2023-07-10T20:26:33.902" v="2031" actId="207"/>
      <pc:docMkLst>
        <pc:docMk/>
      </pc:docMkLst>
      <pc:sldChg chg="add del">
        <pc:chgData name="Julia Soares De Souza" userId="953dcab7-42c6-4562-93dc-3865f4a21f8b" providerId="ADAL" clId="{F631C316-402C-4C00-92DE-945D185B3588}" dt="2023-07-10T13:08:12.906" v="7" actId="47"/>
        <pc:sldMkLst>
          <pc:docMk/>
          <pc:sldMk cId="270936412" sldId="256"/>
        </pc:sldMkLst>
      </pc:sldChg>
      <pc:sldChg chg="del">
        <pc:chgData name="Julia Soares De Souza" userId="953dcab7-42c6-4562-93dc-3865f4a21f8b" providerId="ADAL" clId="{F631C316-402C-4C00-92DE-945D185B3588}" dt="2023-07-10T13:10:27.339" v="82" actId="47"/>
        <pc:sldMkLst>
          <pc:docMk/>
          <pc:sldMk cId="0" sldId="262"/>
        </pc:sldMkLst>
      </pc:sldChg>
      <pc:sldChg chg="del">
        <pc:chgData name="Julia Soares De Souza" userId="953dcab7-42c6-4562-93dc-3865f4a21f8b" providerId="ADAL" clId="{F631C316-402C-4C00-92DE-945D185B3588}" dt="2023-07-10T13:10:14.086" v="78" actId="47"/>
        <pc:sldMkLst>
          <pc:docMk/>
          <pc:sldMk cId="495183702" sldId="2373"/>
        </pc:sldMkLst>
      </pc:sldChg>
      <pc:sldChg chg="del">
        <pc:chgData name="Julia Soares De Souza" userId="953dcab7-42c6-4562-93dc-3865f4a21f8b" providerId="ADAL" clId="{F631C316-402C-4C00-92DE-945D185B3588}" dt="2023-07-10T13:08:15.174" v="8" actId="47"/>
        <pc:sldMkLst>
          <pc:docMk/>
          <pc:sldMk cId="3265762008" sldId="2525"/>
        </pc:sldMkLst>
      </pc:sldChg>
      <pc:sldChg chg="del">
        <pc:chgData name="Julia Soares De Souza" userId="953dcab7-42c6-4562-93dc-3865f4a21f8b" providerId="ADAL" clId="{F631C316-402C-4C00-92DE-945D185B3588}" dt="2023-07-10T13:07:28.919" v="1" actId="47"/>
        <pc:sldMkLst>
          <pc:docMk/>
          <pc:sldMk cId="1712381676" sldId="2539"/>
        </pc:sldMkLst>
      </pc:sldChg>
      <pc:sldChg chg="del">
        <pc:chgData name="Julia Soares De Souza" userId="953dcab7-42c6-4562-93dc-3865f4a21f8b" providerId="ADAL" clId="{F631C316-402C-4C00-92DE-945D185B3588}" dt="2023-07-10T13:10:27.842" v="83" actId="47"/>
        <pc:sldMkLst>
          <pc:docMk/>
          <pc:sldMk cId="2581793843" sldId="2545"/>
        </pc:sldMkLst>
      </pc:sldChg>
      <pc:sldChg chg="del">
        <pc:chgData name="Julia Soares De Souza" userId="953dcab7-42c6-4562-93dc-3865f4a21f8b" providerId="ADAL" clId="{F631C316-402C-4C00-92DE-945D185B3588}" dt="2023-07-10T13:10:28.833" v="84" actId="47"/>
        <pc:sldMkLst>
          <pc:docMk/>
          <pc:sldMk cId="946719679" sldId="2546"/>
        </pc:sldMkLst>
      </pc:sldChg>
      <pc:sldChg chg="del">
        <pc:chgData name="Julia Soares De Souza" userId="953dcab7-42c6-4562-93dc-3865f4a21f8b" providerId="ADAL" clId="{F631C316-402C-4C00-92DE-945D185B3588}" dt="2023-07-10T13:10:29.899" v="85" actId="47"/>
        <pc:sldMkLst>
          <pc:docMk/>
          <pc:sldMk cId="68464735" sldId="2547"/>
        </pc:sldMkLst>
      </pc:sldChg>
      <pc:sldChg chg="addSp delSp modSp mod">
        <pc:chgData name="Julia Soares De Souza" userId="953dcab7-42c6-4562-93dc-3865f4a21f8b" providerId="ADAL" clId="{F631C316-402C-4C00-92DE-945D185B3588}" dt="2023-07-10T14:05:01.025" v="854" actId="1076"/>
        <pc:sldMkLst>
          <pc:docMk/>
          <pc:sldMk cId="1459449787" sldId="2550"/>
        </pc:sldMkLst>
        <pc:spChg chg="mod">
          <ac:chgData name="Julia Soares De Souza" userId="953dcab7-42c6-4562-93dc-3865f4a21f8b" providerId="ADAL" clId="{F631C316-402C-4C00-92DE-945D185B3588}" dt="2023-07-10T13:59:34.008" v="796" actId="1076"/>
          <ac:spMkLst>
            <pc:docMk/>
            <pc:sldMk cId="1459449787" sldId="2550"/>
            <ac:spMk id="11" creationId="{FBC9CA71-0FFD-AEBB-0A52-35748CAE9AF9}"/>
          </ac:spMkLst>
        </pc:spChg>
        <pc:spChg chg="del mod">
          <ac:chgData name="Julia Soares De Souza" userId="953dcab7-42c6-4562-93dc-3865f4a21f8b" providerId="ADAL" clId="{F631C316-402C-4C00-92DE-945D185B3588}" dt="2023-07-10T13:59:41.798" v="798" actId="478"/>
          <ac:spMkLst>
            <pc:docMk/>
            <pc:sldMk cId="1459449787" sldId="2550"/>
            <ac:spMk id="17" creationId="{4C1C5954-C1CE-8079-234E-F4B378528382}"/>
          </ac:spMkLst>
        </pc:spChg>
        <pc:spChg chg="mod">
          <ac:chgData name="Julia Soares De Souza" userId="953dcab7-42c6-4562-93dc-3865f4a21f8b" providerId="ADAL" clId="{F631C316-402C-4C00-92DE-945D185B3588}" dt="2023-07-10T14:00:01.973" v="804" actId="14100"/>
          <ac:spMkLst>
            <pc:docMk/>
            <pc:sldMk cId="1459449787" sldId="2550"/>
            <ac:spMk id="20" creationId="{F0DC04A4-6ABD-E6D5-CFFD-38E0CB23FFC7}"/>
          </ac:spMkLst>
        </pc:spChg>
        <pc:spChg chg="del">
          <ac:chgData name="Julia Soares De Souza" userId="953dcab7-42c6-4562-93dc-3865f4a21f8b" providerId="ADAL" clId="{F631C316-402C-4C00-92DE-945D185B3588}" dt="2023-07-10T13:37:01.949" v="334" actId="478"/>
          <ac:spMkLst>
            <pc:docMk/>
            <pc:sldMk cId="1459449787" sldId="2550"/>
            <ac:spMk id="22" creationId="{690FED7A-D805-5F2A-54DB-C8D083A44824}"/>
          </ac:spMkLst>
        </pc:spChg>
        <pc:graphicFrameChg chg="add del mod">
          <ac:chgData name="Julia Soares De Souza" userId="953dcab7-42c6-4562-93dc-3865f4a21f8b" providerId="ADAL" clId="{F631C316-402C-4C00-92DE-945D185B3588}" dt="2023-07-10T13:42:37.604" v="349" actId="478"/>
          <ac:graphicFrameMkLst>
            <pc:docMk/>
            <pc:sldMk cId="1459449787" sldId="2550"/>
            <ac:graphicFrameMk id="8" creationId="{09ADC9F0-4464-3015-281E-AAF9014BCBBC}"/>
          </ac:graphicFrameMkLst>
        </pc:graphicFrameChg>
        <pc:graphicFrameChg chg="add del mod">
          <ac:chgData name="Julia Soares De Souza" userId="953dcab7-42c6-4562-93dc-3865f4a21f8b" providerId="ADAL" clId="{F631C316-402C-4C00-92DE-945D185B3588}" dt="2023-07-10T13:59:38.917" v="797" actId="478"/>
          <ac:graphicFrameMkLst>
            <pc:docMk/>
            <pc:sldMk cId="1459449787" sldId="2550"/>
            <ac:graphicFrameMk id="10" creationId="{D13FB49B-395C-FFE9-41F5-0285CA0B9F9C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14:05:01.025" v="854" actId="1076"/>
          <ac:graphicFrameMkLst>
            <pc:docMk/>
            <pc:sldMk cId="1459449787" sldId="2550"/>
            <ac:graphicFrameMk id="12" creationId="{7C03B448-66EA-4E5E-8131-979CFF78874F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13:37:16.582" v="340" actId="478"/>
          <ac:graphicFrameMkLst>
            <pc:docMk/>
            <pc:sldMk cId="1459449787" sldId="2550"/>
            <ac:graphicFrameMk id="14" creationId="{D3244750-3CB9-EACC-1366-A6A769EAF231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13:37:18.751" v="341" actId="478"/>
          <ac:graphicFrameMkLst>
            <pc:docMk/>
            <pc:sldMk cId="1459449787" sldId="2550"/>
            <ac:graphicFrameMk id="18" creationId="{C7373D6F-AA2E-2F07-E264-F9DBDC61B1F3}"/>
          </ac:graphicFrameMkLst>
        </pc:graphicFrameChg>
      </pc:sldChg>
      <pc:sldChg chg="del">
        <pc:chgData name="Julia Soares De Souza" userId="953dcab7-42c6-4562-93dc-3865f4a21f8b" providerId="ADAL" clId="{F631C316-402C-4C00-92DE-945D185B3588}" dt="2023-07-10T13:10:19.309" v="79" actId="47"/>
        <pc:sldMkLst>
          <pc:docMk/>
          <pc:sldMk cId="3491019439" sldId="2551"/>
        </pc:sldMkLst>
      </pc:sldChg>
      <pc:sldChg chg="addSp delSp modSp mod ord">
        <pc:chgData name="Julia Soares De Souza" userId="953dcab7-42c6-4562-93dc-3865f4a21f8b" providerId="ADAL" clId="{F631C316-402C-4C00-92DE-945D185B3588}" dt="2023-07-10T16:24:44.639" v="1758" actId="1076"/>
        <pc:sldMkLst>
          <pc:docMk/>
          <pc:sldMk cId="1950976640" sldId="2552"/>
        </pc:sldMkLst>
        <pc:spChg chg="del">
          <ac:chgData name="Julia Soares De Souza" userId="953dcab7-42c6-4562-93dc-3865f4a21f8b" providerId="ADAL" clId="{F631C316-402C-4C00-92DE-945D185B3588}" dt="2023-07-10T14:05:52.682" v="913" actId="478"/>
          <ac:spMkLst>
            <pc:docMk/>
            <pc:sldMk cId="1950976640" sldId="2552"/>
            <ac:spMk id="2" creationId="{82DE69DA-644D-10CC-3CA7-A8D0CAA4BF6F}"/>
          </ac:spMkLst>
        </pc:spChg>
        <pc:spChg chg="add del mod">
          <ac:chgData name="Julia Soares De Souza" userId="953dcab7-42c6-4562-93dc-3865f4a21f8b" providerId="ADAL" clId="{F631C316-402C-4C00-92DE-945D185B3588}" dt="2023-07-10T14:23:37.383" v="1160" actId="478"/>
          <ac:spMkLst>
            <pc:docMk/>
            <pc:sldMk cId="1950976640" sldId="2552"/>
            <ac:spMk id="3" creationId="{A1795E34-B2C3-33C1-CBDC-8C64B039C416}"/>
          </ac:spMkLst>
        </pc:spChg>
        <pc:spChg chg="add mod">
          <ac:chgData name="Julia Soares De Souza" userId="953dcab7-42c6-4562-93dc-3865f4a21f8b" providerId="ADAL" clId="{F631C316-402C-4C00-92DE-945D185B3588}" dt="2023-07-10T14:23:46.887" v="1162" actId="1076"/>
          <ac:spMkLst>
            <pc:docMk/>
            <pc:sldMk cId="1950976640" sldId="2552"/>
            <ac:spMk id="7" creationId="{00C5E2D8-E9A8-99DB-FEB4-2F5BC769D2D3}"/>
          </ac:spMkLst>
        </pc:spChg>
        <pc:spChg chg="del">
          <ac:chgData name="Julia Soares De Souza" userId="953dcab7-42c6-4562-93dc-3865f4a21f8b" providerId="ADAL" clId="{F631C316-402C-4C00-92DE-945D185B3588}" dt="2023-07-10T14:06:13.872" v="928" actId="478"/>
          <ac:spMkLst>
            <pc:docMk/>
            <pc:sldMk cId="1950976640" sldId="2552"/>
            <ac:spMk id="8" creationId="{ACAC45A8-BE94-64B5-BB31-4A7134836FF0}"/>
          </ac:spMkLst>
        </pc:spChg>
        <pc:spChg chg="add mod">
          <ac:chgData name="Julia Soares De Souza" userId="953dcab7-42c6-4562-93dc-3865f4a21f8b" providerId="ADAL" clId="{F631C316-402C-4C00-92DE-945D185B3588}" dt="2023-07-10T14:23:56.659" v="1164" actId="1076"/>
          <ac:spMkLst>
            <pc:docMk/>
            <pc:sldMk cId="1950976640" sldId="2552"/>
            <ac:spMk id="9" creationId="{65481924-A72F-4A8F-9B0F-CDA96EBE6447}"/>
          </ac:spMkLst>
        </pc:spChg>
        <pc:spChg chg="del mod">
          <ac:chgData name="Julia Soares De Souza" userId="953dcab7-42c6-4562-93dc-3865f4a21f8b" providerId="ADAL" clId="{F631C316-402C-4C00-92DE-945D185B3588}" dt="2023-07-10T14:23:37.383" v="1160" actId="478"/>
          <ac:spMkLst>
            <pc:docMk/>
            <pc:sldMk cId="1950976640" sldId="2552"/>
            <ac:spMk id="11" creationId="{FBC9CA71-0FFD-AEBB-0A52-35748CAE9AF9}"/>
          </ac:spMkLst>
        </pc:spChg>
        <pc:spChg chg="del">
          <ac:chgData name="Julia Soares De Souza" userId="953dcab7-42c6-4562-93dc-3865f4a21f8b" providerId="ADAL" clId="{F631C316-402C-4C00-92DE-945D185B3588}" dt="2023-07-10T14:06:17.133" v="929" actId="478"/>
          <ac:spMkLst>
            <pc:docMk/>
            <pc:sldMk cId="1950976640" sldId="2552"/>
            <ac:spMk id="14" creationId="{EE18E434-C4FC-04F5-33BE-A270696578E8}"/>
          </ac:spMkLst>
        </pc:spChg>
        <pc:graphicFrameChg chg="add del mod">
          <ac:chgData name="Julia Soares De Souza" userId="953dcab7-42c6-4562-93dc-3865f4a21f8b" providerId="ADAL" clId="{F631C316-402C-4C00-92DE-945D185B3588}" dt="2023-07-10T14:23:30.923" v="1158" actId="478"/>
          <ac:graphicFrameMkLst>
            <pc:docMk/>
            <pc:sldMk cId="1950976640" sldId="2552"/>
            <ac:graphicFrameMk id="4" creationId="{5922175C-D95B-E75C-7C36-3B6B56424944}"/>
          </ac:graphicFrameMkLst>
        </pc:graphicFrameChg>
        <pc:graphicFrameChg chg="add del mod">
          <ac:chgData name="Julia Soares De Souza" userId="953dcab7-42c6-4562-93dc-3865f4a21f8b" providerId="ADAL" clId="{F631C316-402C-4C00-92DE-945D185B3588}" dt="2023-07-10T14:23:34.088" v="1159" actId="478"/>
          <ac:graphicFrameMkLst>
            <pc:docMk/>
            <pc:sldMk cId="1950976640" sldId="2552"/>
            <ac:graphicFrameMk id="6" creationId="{9C5EADDA-8DD4-4131-8D6E-C5C73643AB59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16:24:44.639" v="1758" actId="1076"/>
          <ac:graphicFrameMkLst>
            <pc:docMk/>
            <pc:sldMk cId="1950976640" sldId="2552"/>
            <ac:graphicFrameMk id="10" creationId="{EE046557-5BF1-2A8F-5D1B-51C2AD40308F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16:24:26.671" v="1757"/>
          <ac:graphicFrameMkLst>
            <pc:docMk/>
            <pc:sldMk cId="1950976640" sldId="2552"/>
            <ac:graphicFrameMk id="12" creationId="{0C6CBF45-ADC3-EEF7-71EC-8F49D154905D}"/>
          </ac:graphicFrameMkLst>
        </pc:graphicFrameChg>
      </pc:sldChg>
      <pc:sldChg chg="del">
        <pc:chgData name="Julia Soares De Souza" userId="953dcab7-42c6-4562-93dc-3865f4a21f8b" providerId="ADAL" clId="{F631C316-402C-4C00-92DE-945D185B3588}" dt="2023-07-10T13:10:26.474" v="81" actId="47"/>
        <pc:sldMkLst>
          <pc:docMk/>
          <pc:sldMk cId="640396300" sldId="2553"/>
        </pc:sldMkLst>
      </pc:sldChg>
      <pc:sldChg chg="del">
        <pc:chgData name="Julia Soares De Souza" userId="953dcab7-42c6-4562-93dc-3865f4a21f8b" providerId="ADAL" clId="{F631C316-402C-4C00-92DE-945D185B3588}" dt="2023-07-10T13:10:20.318" v="80" actId="47"/>
        <pc:sldMkLst>
          <pc:docMk/>
          <pc:sldMk cId="3855776871" sldId="2554"/>
        </pc:sldMkLst>
      </pc:sldChg>
      <pc:sldChg chg="addSp modSp new mod">
        <pc:chgData name="Julia Soares De Souza" userId="953dcab7-42c6-4562-93dc-3865f4a21f8b" providerId="ADAL" clId="{F631C316-402C-4C00-92DE-945D185B3588}" dt="2023-07-10T13:07:59.497" v="6"/>
        <pc:sldMkLst>
          <pc:docMk/>
          <pc:sldMk cId="3010713868" sldId="2555"/>
        </pc:sldMkLst>
        <pc:spChg chg="add mod">
          <ac:chgData name="Julia Soares De Souza" userId="953dcab7-42c6-4562-93dc-3865f4a21f8b" providerId="ADAL" clId="{F631C316-402C-4C00-92DE-945D185B3588}" dt="2023-07-10T13:07:49.491" v="5" actId="2085"/>
          <ac:spMkLst>
            <pc:docMk/>
            <pc:sldMk cId="3010713868" sldId="2555"/>
            <ac:spMk id="2" creationId="{69DFDA35-7121-9A65-FFE0-4C1D0653AE36}"/>
          </ac:spMkLst>
        </pc:spChg>
        <pc:spChg chg="add mod">
          <ac:chgData name="Julia Soares De Souza" userId="953dcab7-42c6-4562-93dc-3865f4a21f8b" providerId="ADAL" clId="{F631C316-402C-4C00-92DE-945D185B3588}" dt="2023-07-10T13:07:59.497" v="6"/>
          <ac:spMkLst>
            <pc:docMk/>
            <pc:sldMk cId="3010713868" sldId="2555"/>
            <ac:spMk id="3" creationId="{089376C1-A91E-2F4D-6305-599C785F45E6}"/>
          </ac:spMkLst>
        </pc:spChg>
        <pc:spChg chg="add mod">
          <ac:chgData name="Julia Soares De Souza" userId="953dcab7-42c6-4562-93dc-3865f4a21f8b" providerId="ADAL" clId="{F631C316-402C-4C00-92DE-945D185B3588}" dt="2023-07-10T13:07:59.497" v="6"/>
          <ac:spMkLst>
            <pc:docMk/>
            <pc:sldMk cId="3010713868" sldId="2555"/>
            <ac:spMk id="4" creationId="{BA66AED6-72BF-BC7E-C7E7-B313A214E969}"/>
          </ac:spMkLst>
        </pc:spChg>
        <pc:spChg chg="add mod">
          <ac:chgData name="Julia Soares De Souza" userId="953dcab7-42c6-4562-93dc-3865f4a21f8b" providerId="ADAL" clId="{F631C316-402C-4C00-92DE-945D185B3588}" dt="2023-07-10T13:07:59.497" v="6"/>
          <ac:spMkLst>
            <pc:docMk/>
            <pc:sldMk cId="3010713868" sldId="2555"/>
            <ac:spMk id="8" creationId="{39A65864-E11A-8103-EFA3-1E3DDD090C93}"/>
          </ac:spMkLst>
        </pc:spChg>
        <pc:picChg chg="add mod">
          <ac:chgData name="Julia Soares De Souza" userId="953dcab7-42c6-4562-93dc-3865f4a21f8b" providerId="ADAL" clId="{F631C316-402C-4C00-92DE-945D185B3588}" dt="2023-07-10T13:07:59.497" v="6"/>
          <ac:picMkLst>
            <pc:docMk/>
            <pc:sldMk cId="3010713868" sldId="2555"/>
            <ac:picMk id="5" creationId="{10587E35-ACB5-7F73-1BE0-59525833FB8A}"/>
          </ac:picMkLst>
        </pc:picChg>
        <pc:picChg chg="add mod">
          <ac:chgData name="Julia Soares De Souza" userId="953dcab7-42c6-4562-93dc-3865f4a21f8b" providerId="ADAL" clId="{F631C316-402C-4C00-92DE-945D185B3588}" dt="2023-07-10T13:07:59.497" v="6"/>
          <ac:picMkLst>
            <pc:docMk/>
            <pc:sldMk cId="3010713868" sldId="2555"/>
            <ac:picMk id="6" creationId="{0485280B-A8C3-F67A-1FB5-F00918714039}"/>
          </ac:picMkLst>
        </pc:picChg>
        <pc:picChg chg="add mod">
          <ac:chgData name="Julia Soares De Souza" userId="953dcab7-42c6-4562-93dc-3865f4a21f8b" providerId="ADAL" clId="{F631C316-402C-4C00-92DE-945D185B3588}" dt="2023-07-10T13:07:59.497" v="6"/>
          <ac:picMkLst>
            <pc:docMk/>
            <pc:sldMk cId="3010713868" sldId="2555"/>
            <ac:picMk id="7" creationId="{D57453BF-FD97-5DA9-774A-57E96B08E8C6}"/>
          </ac:picMkLst>
        </pc:picChg>
      </pc:sldChg>
      <pc:sldChg chg="addSp delSp modSp add mod modAnim">
        <pc:chgData name="Julia Soares De Souza" userId="953dcab7-42c6-4562-93dc-3865f4a21f8b" providerId="ADAL" clId="{F631C316-402C-4C00-92DE-945D185B3588}" dt="2023-07-10T20:26:33.902" v="2031" actId="207"/>
        <pc:sldMkLst>
          <pc:docMk/>
          <pc:sldMk cId="3329584087" sldId="2556"/>
        </pc:sldMkLst>
        <pc:spChg chg="add mod">
          <ac:chgData name="Julia Soares De Souza" userId="953dcab7-42c6-4562-93dc-3865f4a21f8b" providerId="ADAL" clId="{F631C316-402C-4C00-92DE-945D185B3588}" dt="2023-07-10T16:22:27.833" v="1753" actId="1076"/>
          <ac:spMkLst>
            <pc:docMk/>
            <pc:sldMk cId="3329584087" sldId="2556"/>
            <ac:spMk id="2" creationId="{8CC4759B-232E-8371-E289-C19FEC2FE6FA}"/>
          </ac:spMkLst>
        </pc:spChg>
        <pc:spChg chg="del">
          <ac:chgData name="Julia Soares De Souza" userId="953dcab7-42c6-4562-93dc-3865f4a21f8b" providerId="ADAL" clId="{F631C316-402C-4C00-92DE-945D185B3588}" dt="2023-07-10T13:09:35.288" v="70" actId="478"/>
          <ac:spMkLst>
            <pc:docMk/>
            <pc:sldMk cId="3329584087" sldId="2556"/>
            <ac:spMk id="3" creationId="{553A3A79-B561-F5AC-9F9D-80CFED81DFA3}"/>
          </ac:spMkLst>
        </pc:spChg>
        <pc:spChg chg="mod">
          <ac:chgData name="Julia Soares De Souza" userId="953dcab7-42c6-4562-93dc-3865f4a21f8b" providerId="ADAL" clId="{F631C316-402C-4C00-92DE-945D185B3588}" dt="2023-07-10T13:09:52.771" v="75" actId="14100"/>
          <ac:spMkLst>
            <pc:docMk/>
            <pc:sldMk cId="3329584087" sldId="2556"/>
            <ac:spMk id="4" creationId="{F42AD3D3-3921-C50C-4812-F8D0DD14FD95}"/>
          </ac:spMkLst>
        </pc:spChg>
        <pc:spChg chg="add mod">
          <ac:chgData name="Julia Soares De Souza" userId="953dcab7-42c6-4562-93dc-3865f4a21f8b" providerId="ADAL" clId="{F631C316-402C-4C00-92DE-945D185B3588}" dt="2023-07-10T13:35:44.440" v="284" actId="1076"/>
          <ac:spMkLst>
            <pc:docMk/>
            <pc:sldMk cId="3329584087" sldId="2556"/>
            <ac:spMk id="10" creationId="{85E28786-004C-9A77-E58B-23864111A476}"/>
          </ac:spMkLst>
        </pc:spChg>
        <pc:spChg chg="add del mod ord">
          <ac:chgData name="Julia Soares De Souza" userId="953dcab7-42c6-4562-93dc-3865f4a21f8b" providerId="ADAL" clId="{F631C316-402C-4C00-92DE-945D185B3588}" dt="2023-07-10T13:32:21.687" v="273" actId="478"/>
          <ac:spMkLst>
            <pc:docMk/>
            <pc:sldMk cId="3329584087" sldId="2556"/>
            <ac:spMk id="16" creationId="{32A328BB-B205-1052-C257-771273E211FB}"/>
          </ac:spMkLst>
        </pc:spChg>
        <pc:spChg chg="add del mod">
          <ac:chgData name="Julia Soares De Souza" userId="953dcab7-42c6-4562-93dc-3865f4a21f8b" providerId="ADAL" clId="{F631C316-402C-4C00-92DE-945D185B3588}" dt="2023-07-10T16:21:51.924" v="1745"/>
          <ac:spMkLst>
            <pc:docMk/>
            <pc:sldMk cId="3329584087" sldId="2556"/>
            <ac:spMk id="21" creationId="{8A49307D-006B-3F9E-21C6-B9F8D66A5F06}"/>
          </ac:spMkLst>
        </pc:spChg>
        <pc:spChg chg="ord">
          <ac:chgData name="Julia Soares De Souza" userId="953dcab7-42c6-4562-93dc-3865f4a21f8b" providerId="ADAL" clId="{F631C316-402C-4C00-92DE-945D185B3588}" dt="2023-07-10T16:22:03.065" v="1750" actId="167"/>
          <ac:spMkLst>
            <pc:docMk/>
            <pc:sldMk cId="3329584087" sldId="2556"/>
            <ac:spMk id="41" creationId="{58A61426-4C46-8E17-5DF6-489EE534FF50}"/>
          </ac:spMkLst>
        </pc:spChg>
        <pc:spChg chg="del">
          <ac:chgData name="Julia Soares De Souza" userId="953dcab7-42c6-4562-93dc-3865f4a21f8b" providerId="ADAL" clId="{F631C316-402C-4C00-92DE-945D185B3588}" dt="2023-07-10T13:09:35.288" v="70" actId="478"/>
          <ac:spMkLst>
            <pc:docMk/>
            <pc:sldMk cId="3329584087" sldId="2556"/>
            <ac:spMk id="57" creationId="{6246EF0E-DECA-CC61-A27D-C6A10EA8B414}"/>
          </ac:spMkLst>
        </pc:spChg>
        <pc:spChg chg="del">
          <ac:chgData name="Julia Soares De Souza" userId="953dcab7-42c6-4562-93dc-3865f4a21f8b" providerId="ADAL" clId="{F631C316-402C-4C00-92DE-945D185B3588}" dt="2023-07-10T13:09:35.288" v="70" actId="478"/>
          <ac:spMkLst>
            <pc:docMk/>
            <pc:sldMk cId="3329584087" sldId="2556"/>
            <ac:spMk id="61" creationId="{7F1EB5BF-2FFD-F21C-651F-92EDA262DDDE}"/>
          </ac:spMkLst>
        </pc:spChg>
        <pc:grpChg chg="del">
          <ac:chgData name="Julia Soares De Souza" userId="953dcab7-42c6-4562-93dc-3865f4a21f8b" providerId="ADAL" clId="{F631C316-402C-4C00-92DE-945D185B3588}" dt="2023-07-10T13:09:35.288" v="70" actId="478"/>
          <ac:grpSpMkLst>
            <pc:docMk/>
            <pc:sldMk cId="3329584087" sldId="2556"/>
            <ac:grpSpMk id="52" creationId="{CBC9F4EB-56B8-FFD2-98F4-7A6C2B1752DE}"/>
          </ac:grpSpMkLst>
        </pc:grpChg>
        <pc:graphicFrameChg chg="add del mod">
          <ac:chgData name="Julia Soares De Souza" userId="953dcab7-42c6-4562-93dc-3865f4a21f8b" providerId="ADAL" clId="{F631C316-402C-4C00-92DE-945D185B3588}" dt="2023-07-10T13:20:15.537" v="144" actId="478"/>
          <ac:graphicFrameMkLst>
            <pc:docMk/>
            <pc:sldMk cId="3329584087" sldId="2556"/>
            <ac:graphicFrameMk id="5" creationId="{2A8F0F0B-EF58-6C57-CEB6-B2C2853EAB55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20:26:33.902" v="2031" actId="207"/>
          <ac:graphicFrameMkLst>
            <pc:docMk/>
            <pc:sldMk cId="3329584087" sldId="2556"/>
            <ac:graphicFrameMk id="9" creationId="{2A8F0F0B-EF58-6C57-CEB6-B2C2853EAB55}"/>
          </ac:graphicFrameMkLst>
        </pc:graphicFrameChg>
        <pc:picChg chg="del ord">
          <ac:chgData name="Julia Soares De Souza" userId="953dcab7-42c6-4562-93dc-3865f4a21f8b" providerId="ADAL" clId="{F631C316-402C-4C00-92DE-945D185B3588}" dt="2023-07-10T16:21:20.532" v="1743" actId="478"/>
          <ac:picMkLst>
            <pc:docMk/>
            <pc:sldMk cId="3329584087" sldId="2556"/>
            <ac:picMk id="11" creationId="{DC8385D0-981C-7363-CB8C-FC8D5AA36F3A}"/>
          </ac:picMkLst>
        </pc:picChg>
        <pc:picChg chg="add mod">
          <ac:chgData name="Julia Soares De Souza" userId="953dcab7-42c6-4562-93dc-3865f4a21f8b" providerId="ADAL" clId="{F631C316-402C-4C00-92DE-945D185B3588}" dt="2023-07-10T13:35:44.440" v="284" actId="1076"/>
          <ac:picMkLst>
            <pc:docMk/>
            <pc:sldMk cId="3329584087" sldId="2556"/>
            <ac:picMk id="13" creationId="{FCD1E9CE-896B-6DDB-75A4-2D999094DE7A}"/>
          </ac:picMkLst>
        </pc:picChg>
        <pc:picChg chg="add del mod">
          <ac:chgData name="Julia Soares De Souza" userId="953dcab7-42c6-4562-93dc-3865f4a21f8b" providerId="ADAL" clId="{F631C316-402C-4C00-92DE-945D185B3588}" dt="2023-07-10T13:32:21.687" v="273" actId="478"/>
          <ac:picMkLst>
            <pc:docMk/>
            <pc:sldMk cId="3329584087" sldId="2556"/>
            <ac:picMk id="15" creationId="{7388A080-EC30-763D-55B7-E1D03E08AAF7}"/>
          </ac:picMkLst>
        </pc:picChg>
        <pc:picChg chg="add mod modCrop">
          <ac:chgData name="Julia Soares De Souza" userId="953dcab7-42c6-4562-93dc-3865f4a21f8b" providerId="ADAL" clId="{F631C316-402C-4C00-92DE-945D185B3588}" dt="2023-07-10T13:35:44.440" v="284" actId="1076"/>
          <ac:picMkLst>
            <pc:docMk/>
            <pc:sldMk cId="3329584087" sldId="2556"/>
            <ac:picMk id="18" creationId="{8D58B780-1D29-8CCA-C06C-EB61EE4BBF80}"/>
          </ac:picMkLst>
        </pc:picChg>
        <pc:picChg chg="add del mod">
          <ac:chgData name="Julia Soares De Souza" userId="953dcab7-42c6-4562-93dc-3865f4a21f8b" providerId="ADAL" clId="{F631C316-402C-4C00-92DE-945D185B3588}" dt="2023-07-10T16:21:51.924" v="1745"/>
          <ac:picMkLst>
            <pc:docMk/>
            <pc:sldMk cId="3329584087" sldId="2556"/>
            <ac:picMk id="19" creationId="{96BCD003-D99E-C368-0F1B-E3A48F7041EF}"/>
          </ac:picMkLst>
        </pc:picChg>
        <pc:picChg chg="mod ord">
          <ac:chgData name="Julia Soares De Souza" userId="953dcab7-42c6-4562-93dc-3865f4a21f8b" providerId="ADAL" clId="{F631C316-402C-4C00-92DE-945D185B3588}" dt="2023-07-10T16:22:15.535" v="1752" actId="14861"/>
          <ac:picMkLst>
            <pc:docMk/>
            <pc:sldMk cId="3329584087" sldId="2556"/>
            <ac:picMk id="22" creationId="{F7229996-AA6C-2931-0669-D0166201F238}"/>
          </ac:picMkLst>
        </pc:picChg>
      </pc:sldChg>
      <pc:sldChg chg="delSp modSp add mod ord">
        <pc:chgData name="Julia Soares De Souza" userId="953dcab7-42c6-4562-93dc-3865f4a21f8b" providerId="ADAL" clId="{F631C316-402C-4C00-92DE-945D185B3588}" dt="2023-07-10T13:59:01.313" v="763" actId="1036"/>
        <pc:sldMkLst>
          <pc:docMk/>
          <pc:sldMk cId="3402956258" sldId="2557"/>
        </pc:sldMkLst>
        <pc:spChg chg="mod">
          <ac:chgData name="Julia Soares De Souza" userId="953dcab7-42c6-4562-93dc-3865f4a21f8b" providerId="ADAL" clId="{F631C316-402C-4C00-92DE-945D185B3588}" dt="2023-07-10T13:54:56.256" v="661" actId="1076"/>
          <ac:spMkLst>
            <pc:docMk/>
            <pc:sldMk cId="3402956258" sldId="2557"/>
            <ac:spMk id="11" creationId="{FBC9CA71-0FFD-AEBB-0A52-35748CAE9AF9}"/>
          </ac:spMkLst>
        </pc:spChg>
        <pc:spChg chg="mod">
          <ac:chgData name="Julia Soares De Souza" userId="953dcab7-42c6-4562-93dc-3865f4a21f8b" providerId="ADAL" clId="{F631C316-402C-4C00-92DE-945D185B3588}" dt="2023-07-10T13:59:01.313" v="763" actId="1036"/>
          <ac:spMkLst>
            <pc:docMk/>
            <pc:sldMk cId="3402956258" sldId="2557"/>
            <ac:spMk id="17" creationId="{4C1C5954-C1CE-8079-234E-F4B378528382}"/>
          </ac:spMkLst>
        </pc:spChg>
        <pc:spChg chg="del">
          <ac:chgData name="Julia Soares De Souza" userId="953dcab7-42c6-4562-93dc-3865f4a21f8b" providerId="ADAL" clId="{F631C316-402C-4C00-92DE-945D185B3588}" dt="2023-07-10T13:55:06.625" v="665" actId="478"/>
          <ac:spMkLst>
            <pc:docMk/>
            <pc:sldMk cId="3402956258" sldId="2557"/>
            <ac:spMk id="20" creationId="{F0DC04A4-6ABD-E6D5-CFFD-38E0CB23FFC7}"/>
          </ac:spMkLst>
        </pc:spChg>
        <pc:graphicFrameChg chg="mod">
          <ac:chgData name="Julia Soares De Souza" userId="953dcab7-42c6-4562-93dc-3865f4a21f8b" providerId="ADAL" clId="{F631C316-402C-4C00-92DE-945D185B3588}" dt="2023-07-10T13:58:47.849" v="749"/>
          <ac:graphicFrameMkLst>
            <pc:docMk/>
            <pc:sldMk cId="3402956258" sldId="2557"/>
            <ac:graphicFrameMk id="10" creationId="{D13FB49B-395C-FFE9-41F5-0285CA0B9F9C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13:55:04.134" v="664" actId="478"/>
          <ac:graphicFrameMkLst>
            <pc:docMk/>
            <pc:sldMk cId="3402956258" sldId="2557"/>
            <ac:graphicFrameMk id="12" creationId="{7C03B448-66EA-4E5E-8131-979CFF78874F}"/>
          </ac:graphicFrameMkLst>
        </pc:graphicFrameChg>
      </pc:sldChg>
      <pc:sldChg chg="modSp add del mod ord">
        <pc:chgData name="Julia Soares De Souza" userId="953dcab7-42c6-4562-93dc-3865f4a21f8b" providerId="ADAL" clId="{F631C316-402C-4C00-92DE-945D185B3588}" dt="2023-07-10T14:14:57.662" v="1036" actId="47"/>
        <pc:sldMkLst>
          <pc:docMk/>
          <pc:sldMk cId="2042377572" sldId="2558"/>
        </pc:sldMkLst>
        <pc:spChg chg="mod">
          <ac:chgData name="Julia Soares De Souza" userId="953dcab7-42c6-4562-93dc-3865f4a21f8b" providerId="ADAL" clId="{F631C316-402C-4C00-92DE-945D185B3588}" dt="2023-07-10T14:14:54.671" v="1035" actId="20577"/>
          <ac:spMkLst>
            <pc:docMk/>
            <pc:sldMk cId="2042377572" sldId="2558"/>
            <ac:spMk id="4" creationId="{F42AD3D3-3921-C50C-4812-F8D0DD14FD95}"/>
          </ac:spMkLst>
        </pc:spChg>
      </pc:sldChg>
      <pc:sldChg chg="delSp modSp add del mod ord">
        <pc:chgData name="Julia Soares De Souza" userId="953dcab7-42c6-4562-93dc-3865f4a21f8b" providerId="ADAL" clId="{F631C316-402C-4C00-92DE-945D185B3588}" dt="2023-07-10T14:24:21.215" v="1166" actId="47"/>
        <pc:sldMkLst>
          <pc:docMk/>
          <pc:sldMk cId="2857271816" sldId="2558"/>
        </pc:sldMkLst>
        <pc:spChg chg="mod">
          <ac:chgData name="Julia Soares De Souza" userId="953dcab7-42c6-4562-93dc-3865f4a21f8b" providerId="ADAL" clId="{F631C316-402C-4C00-92DE-945D185B3588}" dt="2023-07-10T14:15:29.331" v="1088" actId="1076"/>
          <ac:spMkLst>
            <pc:docMk/>
            <pc:sldMk cId="2857271816" sldId="2558"/>
            <ac:spMk id="11" creationId="{FBC9CA71-0FFD-AEBB-0A52-35748CAE9AF9}"/>
          </ac:spMkLst>
        </pc:spChg>
        <pc:spChg chg="del">
          <ac:chgData name="Julia Soares De Souza" userId="953dcab7-42c6-4562-93dc-3865f4a21f8b" providerId="ADAL" clId="{F631C316-402C-4C00-92DE-945D185B3588}" dt="2023-07-10T14:22:47.332" v="1152" actId="478"/>
          <ac:spMkLst>
            <pc:docMk/>
            <pc:sldMk cId="2857271816" sldId="2558"/>
            <ac:spMk id="17" creationId="{4C1C5954-C1CE-8079-234E-F4B378528382}"/>
          </ac:spMkLst>
        </pc:spChg>
        <pc:graphicFrameChg chg="del">
          <ac:chgData name="Julia Soares De Souza" userId="953dcab7-42c6-4562-93dc-3865f4a21f8b" providerId="ADAL" clId="{F631C316-402C-4C00-92DE-945D185B3588}" dt="2023-07-10T14:22:44.959" v="1151" actId="478"/>
          <ac:graphicFrameMkLst>
            <pc:docMk/>
            <pc:sldMk cId="2857271816" sldId="2558"/>
            <ac:graphicFrameMk id="10" creationId="{D13FB49B-395C-FFE9-41F5-0285CA0B9F9C}"/>
          </ac:graphicFrameMkLst>
        </pc:graphicFrameChg>
      </pc:sldChg>
      <pc:sldChg chg="add del">
        <pc:chgData name="Julia Soares De Souza" userId="953dcab7-42c6-4562-93dc-3865f4a21f8b" providerId="ADAL" clId="{F631C316-402C-4C00-92DE-945D185B3588}" dt="2023-07-10T16:23:12.356" v="1755" actId="47"/>
        <pc:sldMkLst>
          <pc:docMk/>
          <pc:sldMk cId="2459770588" sldId="2559"/>
        </pc:sldMkLst>
      </pc:sldChg>
      <pc:sldChg chg="delSp modSp add del mod">
        <pc:chgData name="Julia Soares De Souza" userId="953dcab7-42c6-4562-93dc-3865f4a21f8b" providerId="ADAL" clId="{F631C316-402C-4C00-92DE-945D185B3588}" dt="2023-07-10T14:24:22.771" v="1167" actId="47"/>
        <pc:sldMkLst>
          <pc:docMk/>
          <pc:sldMk cId="3220050631" sldId="2560"/>
        </pc:sldMkLst>
        <pc:spChg chg="mod">
          <ac:chgData name="Julia Soares De Souza" userId="953dcab7-42c6-4562-93dc-3865f4a21f8b" providerId="ADAL" clId="{F631C316-402C-4C00-92DE-945D185B3588}" dt="2023-07-10T14:22:41.359" v="1150" actId="1076"/>
          <ac:spMkLst>
            <pc:docMk/>
            <pc:sldMk cId="3220050631" sldId="2560"/>
            <ac:spMk id="11" creationId="{FBC9CA71-0FFD-AEBB-0A52-35748CAE9AF9}"/>
          </ac:spMkLst>
        </pc:spChg>
        <pc:spChg chg="del">
          <ac:chgData name="Julia Soares De Souza" userId="953dcab7-42c6-4562-93dc-3865f4a21f8b" providerId="ADAL" clId="{F631C316-402C-4C00-92DE-945D185B3588}" dt="2023-07-10T14:22:54.386" v="1154" actId="478"/>
          <ac:spMkLst>
            <pc:docMk/>
            <pc:sldMk cId="3220050631" sldId="2560"/>
            <ac:spMk id="17" creationId="{4C1C5954-C1CE-8079-234E-F4B378528382}"/>
          </ac:spMkLst>
        </pc:spChg>
        <pc:graphicFrameChg chg="del">
          <ac:chgData name="Julia Soares De Souza" userId="953dcab7-42c6-4562-93dc-3865f4a21f8b" providerId="ADAL" clId="{F631C316-402C-4C00-92DE-945D185B3588}" dt="2023-07-10T14:22:51.309" v="1153" actId="478"/>
          <ac:graphicFrameMkLst>
            <pc:docMk/>
            <pc:sldMk cId="3220050631" sldId="2560"/>
            <ac:graphicFrameMk id="10" creationId="{D13FB49B-395C-FFE9-41F5-0285CA0B9F9C}"/>
          </ac:graphicFrameMkLst>
        </pc:graphicFrameChg>
      </pc:sldChg>
      <pc:sldChg chg="add">
        <pc:chgData name="Julia Soares De Souza" userId="953dcab7-42c6-4562-93dc-3865f4a21f8b" providerId="ADAL" clId="{F631C316-402C-4C00-92DE-945D185B3588}" dt="2023-07-10T14:23:20.388" v="1155" actId="2890"/>
        <pc:sldMkLst>
          <pc:docMk/>
          <pc:sldMk cId="3294816459" sldId="2561"/>
        </pc:sldMkLst>
      </pc:sldChg>
      <pc:sldChg chg="addSp delSp modSp add mod">
        <pc:chgData name="Julia Soares De Souza" userId="953dcab7-42c6-4562-93dc-3865f4a21f8b" providerId="ADAL" clId="{F631C316-402C-4C00-92DE-945D185B3588}" dt="2023-07-10T16:11:17.816" v="1693"/>
        <pc:sldMkLst>
          <pc:docMk/>
          <pc:sldMk cId="2173834345" sldId="2562"/>
        </pc:sldMkLst>
        <pc:spChg chg="del">
          <ac:chgData name="Julia Soares De Souza" userId="953dcab7-42c6-4562-93dc-3865f4a21f8b" providerId="ADAL" clId="{F631C316-402C-4C00-92DE-945D185B3588}" dt="2023-07-10T14:24:43.289" v="1223" actId="478"/>
          <ac:spMkLst>
            <pc:docMk/>
            <pc:sldMk cId="2173834345" sldId="2562"/>
            <ac:spMk id="2" creationId="{8CC4759B-232E-8371-E289-C19FEC2FE6FA}"/>
          </ac:spMkLst>
        </pc:spChg>
        <pc:spChg chg="mod">
          <ac:chgData name="Julia Soares De Souza" userId="953dcab7-42c6-4562-93dc-3865f4a21f8b" providerId="ADAL" clId="{F631C316-402C-4C00-92DE-945D185B3588}" dt="2023-07-10T14:24:38.868" v="1222" actId="20577"/>
          <ac:spMkLst>
            <pc:docMk/>
            <pc:sldMk cId="2173834345" sldId="2562"/>
            <ac:spMk id="4" creationId="{F42AD3D3-3921-C50C-4812-F8D0DD14FD95}"/>
          </ac:spMkLst>
        </pc:spChg>
        <pc:spChg chg="del">
          <ac:chgData name="Julia Soares De Souza" userId="953dcab7-42c6-4562-93dc-3865f4a21f8b" providerId="ADAL" clId="{F631C316-402C-4C00-92DE-945D185B3588}" dt="2023-07-10T14:24:43.289" v="1223" actId="478"/>
          <ac:spMkLst>
            <pc:docMk/>
            <pc:sldMk cId="2173834345" sldId="2562"/>
            <ac:spMk id="10" creationId="{85E28786-004C-9A77-E58B-23864111A476}"/>
          </ac:spMkLst>
        </pc:spChg>
        <pc:spChg chg="add del mod ord">
          <ac:chgData name="Julia Soares De Souza" userId="953dcab7-42c6-4562-93dc-3865f4a21f8b" providerId="ADAL" clId="{F631C316-402C-4C00-92DE-945D185B3588}" dt="2023-07-10T16:09:51.748" v="1680"/>
          <ac:spMkLst>
            <pc:docMk/>
            <pc:sldMk cId="2173834345" sldId="2562"/>
            <ac:spMk id="17" creationId="{980C9124-0F6A-BA6C-76AE-17556D0B42D3}"/>
          </ac:spMkLst>
        </pc:spChg>
        <pc:spChg chg="ord">
          <ac:chgData name="Julia Soares De Souza" userId="953dcab7-42c6-4562-93dc-3865f4a21f8b" providerId="ADAL" clId="{F631C316-402C-4C00-92DE-945D185B3588}" dt="2023-07-10T16:10:01.799" v="1683" actId="167"/>
          <ac:spMkLst>
            <pc:docMk/>
            <pc:sldMk cId="2173834345" sldId="2562"/>
            <ac:spMk id="41" creationId="{58A61426-4C46-8E17-5DF6-489EE534FF50}"/>
          </ac:spMkLst>
        </pc:spChg>
        <pc:graphicFrameChg chg="add mod">
          <ac:chgData name="Julia Soares De Souza" userId="953dcab7-42c6-4562-93dc-3865f4a21f8b" providerId="ADAL" clId="{F631C316-402C-4C00-92DE-945D185B3588}" dt="2023-07-10T16:11:17.816" v="1693"/>
          <ac:graphicFrameMkLst>
            <pc:docMk/>
            <pc:sldMk cId="2173834345" sldId="2562"/>
            <ac:graphicFrameMk id="3" creationId="{AF51C551-6D30-4122-8AB9-021945711297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14:24:43.289" v="1223" actId="478"/>
          <ac:graphicFrameMkLst>
            <pc:docMk/>
            <pc:sldMk cId="2173834345" sldId="2562"/>
            <ac:graphicFrameMk id="9" creationId="{2A8F0F0B-EF58-6C57-CEB6-B2C2853EAB55}"/>
          </ac:graphicFrameMkLst>
        </pc:graphicFrameChg>
        <pc:picChg chg="del">
          <ac:chgData name="Julia Soares De Souza" userId="953dcab7-42c6-4562-93dc-3865f4a21f8b" providerId="ADAL" clId="{F631C316-402C-4C00-92DE-945D185B3588}" dt="2023-07-10T16:09:16.065" v="1672" actId="478"/>
          <ac:picMkLst>
            <pc:docMk/>
            <pc:sldMk cId="2173834345" sldId="2562"/>
            <ac:picMk id="11" creationId="{DC8385D0-981C-7363-CB8C-FC8D5AA36F3A}"/>
          </ac:picMkLst>
        </pc:picChg>
        <pc:picChg chg="add del mod">
          <ac:chgData name="Julia Soares De Souza" userId="953dcab7-42c6-4562-93dc-3865f4a21f8b" providerId="ADAL" clId="{F631C316-402C-4C00-92DE-945D185B3588}" dt="2023-07-10T14:29:02.458" v="1366" actId="21"/>
          <ac:picMkLst>
            <pc:docMk/>
            <pc:sldMk cId="2173834345" sldId="2562"/>
            <ac:picMk id="12" creationId="{CC000B6C-7DD9-C03F-F5F3-41FC15B592A8}"/>
          </ac:picMkLst>
        </pc:picChg>
        <pc:picChg chg="del">
          <ac:chgData name="Julia Soares De Souza" userId="953dcab7-42c6-4562-93dc-3865f4a21f8b" providerId="ADAL" clId="{F631C316-402C-4C00-92DE-945D185B3588}" dt="2023-07-10T14:24:43.289" v="1223" actId="478"/>
          <ac:picMkLst>
            <pc:docMk/>
            <pc:sldMk cId="2173834345" sldId="2562"/>
            <ac:picMk id="13" creationId="{FCD1E9CE-896B-6DDB-75A4-2D999094DE7A}"/>
          </ac:picMkLst>
        </pc:picChg>
        <pc:picChg chg="add del mod ord">
          <ac:chgData name="Julia Soares De Souza" userId="953dcab7-42c6-4562-93dc-3865f4a21f8b" providerId="ADAL" clId="{F631C316-402C-4C00-92DE-945D185B3588}" dt="2023-07-10T16:09:51.748" v="1680"/>
          <ac:picMkLst>
            <pc:docMk/>
            <pc:sldMk cId="2173834345" sldId="2562"/>
            <ac:picMk id="16" creationId="{5F6B2D2C-A5AB-1196-388D-D358B19EFA2B}"/>
          </ac:picMkLst>
        </pc:picChg>
        <pc:picChg chg="del">
          <ac:chgData name="Julia Soares De Souza" userId="953dcab7-42c6-4562-93dc-3865f4a21f8b" providerId="ADAL" clId="{F631C316-402C-4C00-92DE-945D185B3588}" dt="2023-07-10T14:24:43.289" v="1223" actId="478"/>
          <ac:picMkLst>
            <pc:docMk/>
            <pc:sldMk cId="2173834345" sldId="2562"/>
            <ac:picMk id="18" creationId="{8D58B780-1D29-8CCA-C06C-EB61EE4BBF80}"/>
          </ac:picMkLst>
        </pc:picChg>
        <pc:picChg chg="mod ord">
          <ac:chgData name="Julia Soares De Souza" userId="953dcab7-42c6-4562-93dc-3865f4a21f8b" providerId="ADAL" clId="{F631C316-402C-4C00-92DE-945D185B3588}" dt="2023-07-10T16:09:58.665" v="1682" actId="167"/>
          <ac:picMkLst>
            <pc:docMk/>
            <pc:sldMk cId="2173834345" sldId="2562"/>
            <ac:picMk id="19" creationId="{7A155473-F36D-68A7-256C-6E63E97D4682}"/>
          </ac:picMkLst>
        </pc:picChg>
      </pc:sldChg>
      <pc:sldChg chg="addSp delSp modSp add mod ord">
        <pc:chgData name="Julia Soares De Souza" userId="953dcab7-42c6-4562-93dc-3865f4a21f8b" providerId="ADAL" clId="{F631C316-402C-4C00-92DE-945D185B3588}" dt="2023-07-10T17:38:34.961" v="1893" actId="20577"/>
        <pc:sldMkLst>
          <pc:docMk/>
          <pc:sldMk cId="1741083817" sldId="2563"/>
        </pc:sldMkLst>
        <pc:spChg chg="mod">
          <ac:chgData name="Julia Soares De Souza" userId="953dcab7-42c6-4562-93dc-3865f4a21f8b" providerId="ADAL" clId="{F631C316-402C-4C00-92DE-945D185B3588}" dt="2023-07-10T14:25:49.276" v="1260" actId="20577"/>
          <ac:spMkLst>
            <pc:docMk/>
            <pc:sldMk cId="1741083817" sldId="2563"/>
            <ac:spMk id="11" creationId="{FBC9CA71-0FFD-AEBB-0A52-35748CAE9AF9}"/>
          </ac:spMkLst>
        </pc:spChg>
        <pc:spChg chg="mod">
          <ac:chgData name="Julia Soares De Souza" userId="953dcab7-42c6-4562-93dc-3865f4a21f8b" providerId="ADAL" clId="{F631C316-402C-4C00-92DE-945D185B3588}" dt="2023-07-10T17:38:34.961" v="1893" actId="20577"/>
          <ac:spMkLst>
            <pc:docMk/>
            <pc:sldMk cId="1741083817" sldId="2563"/>
            <ac:spMk id="17" creationId="{4C1C5954-C1CE-8079-234E-F4B378528382}"/>
          </ac:spMkLst>
        </pc:spChg>
        <pc:graphicFrameChg chg="add mod">
          <ac:chgData name="Julia Soares De Souza" userId="953dcab7-42c6-4562-93dc-3865f4a21f8b" providerId="ADAL" clId="{F631C316-402C-4C00-92DE-945D185B3588}" dt="2023-07-10T15:50:01.583" v="1619" actId="403"/>
          <ac:graphicFrameMkLst>
            <pc:docMk/>
            <pc:sldMk cId="1741083817" sldId="2563"/>
            <ac:graphicFrameMk id="8" creationId="{054EDFC9-B12D-4927-958E-BB793FDB7E98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14:25:57.397" v="1261" actId="478"/>
          <ac:graphicFrameMkLst>
            <pc:docMk/>
            <pc:sldMk cId="1741083817" sldId="2563"/>
            <ac:graphicFrameMk id="10" creationId="{D13FB49B-395C-FFE9-41F5-0285CA0B9F9C}"/>
          </ac:graphicFrameMkLst>
        </pc:graphicFrameChg>
      </pc:sldChg>
      <pc:sldChg chg="add del">
        <pc:chgData name="Julia Soares De Souza" userId="953dcab7-42c6-4562-93dc-3865f4a21f8b" providerId="ADAL" clId="{F631C316-402C-4C00-92DE-945D185B3588}" dt="2023-07-10T16:23:09.327" v="1754" actId="47"/>
        <pc:sldMkLst>
          <pc:docMk/>
          <pc:sldMk cId="1242575474" sldId="2564"/>
        </pc:sldMkLst>
      </pc:sldChg>
      <pc:sldChg chg="addSp delSp modSp add mod">
        <pc:chgData name="Julia Soares De Souza" userId="953dcab7-42c6-4562-93dc-3865f4a21f8b" providerId="ADAL" clId="{F631C316-402C-4C00-92DE-945D185B3588}" dt="2023-07-10T20:18:31.645" v="2005"/>
        <pc:sldMkLst>
          <pc:docMk/>
          <pc:sldMk cId="3209463855" sldId="2565"/>
        </pc:sldMkLst>
        <pc:spChg chg="mod">
          <ac:chgData name="Julia Soares De Souza" userId="953dcab7-42c6-4562-93dc-3865f4a21f8b" providerId="ADAL" clId="{F631C316-402C-4C00-92DE-945D185B3588}" dt="2023-07-10T20:18:31.645" v="2005"/>
          <ac:spMkLst>
            <pc:docMk/>
            <pc:sldMk cId="3209463855" sldId="2565"/>
            <ac:spMk id="11" creationId="{FBC9CA71-0FFD-AEBB-0A52-35748CAE9AF9}"/>
          </ac:spMkLst>
        </pc:spChg>
        <pc:spChg chg="add mod">
          <ac:chgData name="Julia Soares De Souza" userId="953dcab7-42c6-4562-93dc-3865f4a21f8b" providerId="ADAL" clId="{F631C316-402C-4C00-92DE-945D185B3588}" dt="2023-07-10T17:38:23.826" v="1891"/>
          <ac:spMkLst>
            <pc:docMk/>
            <pc:sldMk cId="3209463855" sldId="2565"/>
            <ac:spMk id="12" creationId="{1F642577-9D79-083C-7ADD-6DDAE91F00A6}"/>
          </ac:spMkLst>
        </pc:spChg>
        <pc:spChg chg="del">
          <ac:chgData name="Julia Soares De Souza" userId="953dcab7-42c6-4562-93dc-3865f4a21f8b" providerId="ADAL" clId="{F631C316-402C-4C00-92DE-945D185B3588}" dt="2023-07-10T17:38:22.459" v="1890" actId="478"/>
          <ac:spMkLst>
            <pc:docMk/>
            <pc:sldMk cId="3209463855" sldId="2565"/>
            <ac:spMk id="17" creationId="{4C1C5954-C1CE-8079-234E-F4B378528382}"/>
          </ac:spMkLst>
        </pc:spChg>
        <pc:graphicFrameChg chg="add del mod">
          <ac:chgData name="Julia Soares De Souza" userId="953dcab7-42c6-4562-93dc-3865f4a21f8b" providerId="ADAL" clId="{F631C316-402C-4C00-92DE-945D185B3588}" dt="2023-07-10T15:00:59.521" v="1450" actId="478"/>
          <ac:graphicFrameMkLst>
            <pc:docMk/>
            <pc:sldMk cId="3209463855" sldId="2565"/>
            <ac:graphicFrameMk id="8" creationId="{3AEF57DC-40F1-4DA2-90F5-2244AE6522DE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16:20:43.050" v="1736" actId="255"/>
          <ac:graphicFrameMkLst>
            <pc:docMk/>
            <pc:sldMk cId="3209463855" sldId="2565"/>
            <ac:graphicFrameMk id="10" creationId="{3AEF57DC-40F1-4DA2-90F5-2244AE6522DE}"/>
          </ac:graphicFrameMkLst>
        </pc:graphicFrameChg>
      </pc:sldChg>
      <pc:sldChg chg="add del">
        <pc:chgData name="Julia Soares De Souza" userId="953dcab7-42c6-4562-93dc-3865f4a21f8b" providerId="ADAL" clId="{F631C316-402C-4C00-92DE-945D185B3588}" dt="2023-07-10T14:26:55.916" v="1291" actId="47"/>
        <pc:sldMkLst>
          <pc:docMk/>
          <pc:sldMk cId="1171746540" sldId="2566"/>
        </pc:sldMkLst>
      </pc:sldChg>
      <pc:sldChg chg="addSp delSp modSp add mod ord">
        <pc:chgData name="Julia Soares De Souza" userId="953dcab7-42c6-4562-93dc-3865f4a21f8b" providerId="ADAL" clId="{F631C316-402C-4C00-92DE-945D185B3588}" dt="2023-07-10T17:38:46.353" v="1895"/>
        <pc:sldMkLst>
          <pc:docMk/>
          <pc:sldMk cId="1594179578" sldId="2566"/>
        </pc:sldMkLst>
        <pc:spChg chg="mod">
          <ac:chgData name="Julia Soares De Souza" userId="953dcab7-42c6-4562-93dc-3865f4a21f8b" providerId="ADAL" clId="{F631C316-402C-4C00-92DE-945D185B3588}" dt="2023-07-10T14:27:11.411" v="1306" actId="20577"/>
          <ac:spMkLst>
            <pc:docMk/>
            <pc:sldMk cId="1594179578" sldId="2566"/>
            <ac:spMk id="11" creationId="{FBC9CA71-0FFD-AEBB-0A52-35748CAE9AF9}"/>
          </ac:spMkLst>
        </pc:spChg>
        <pc:spChg chg="add mod">
          <ac:chgData name="Julia Soares De Souza" userId="953dcab7-42c6-4562-93dc-3865f4a21f8b" providerId="ADAL" clId="{F631C316-402C-4C00-92DE-945D185B3588}" dt="2023-07-10T17:38:46.353" v="1895"/>
          <ac:spMkLst>
            <pc:docMk/>
            <pc:sldMk cId="1594179578" sldId="2566"/>
            <ac:spMk id="12" creationId="{F63A9457-1459-57EC-34A3-8274466E1DDD}"/>
          </ac:spMkLst>
        </pc:spChg>
        <pc:spChg chg="del">
          <ac:chgData name="Julia Soares De Souza" userId="953dcab7-42c6-4562-93dc-3865f4a21f8b" providerId="ADAL" clId="{F631C316-402C-4C00-92DE-945D185B3588}" dt="2023-07-10T17:38:45.787" v="1894" actId="478"/>
          <ac:spMkLst>
            <pc:docMk/>
            <pc:sldMk cId="1594179578" sldId="2566"/>
            <ac:spMk id="17" creationId="{4C1C5954-C1CE-8079-234E-F4B378528382}"/>
          </ac:spMkLst>
        </pc:spChg>
        <pc:graphicFrameChg chg="add del mod">
          <ac:chgData name="Julia Soares De Souza" userId="953dcab7-42c6-4562-93dc-3865f4a21f8b" providerId="ADAL" clId="{F631C316-402C-4C00-92DE-945D185B3588}" dt="2023-07-10T15:04:38.242" v="1454" actId="478"/>
          <ac:graphicFrameMkLst>
            <pc:docMk/>
            <pc:sldMk cId="1594179578" sldId="2566"/>
            <ac:graphicFrameMk id="8" creationId="{766C45EA-FD17-062E-32F5-B3200AE02DD8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16:20:07.647" v="1732" actId="14100"/>
          <ac:graphicFrameMkLst>
            <pc:docMk/>
            <pc:sldMk cId="1594179578" sldId="2566"/>
            <ac:graphicFrameMk id="10" creationId="{766C45EA-FD17-062E-32F5-B3200AE02DD8}"/>
          </ac:graphicFrameMkLst>
        </pc:graphicFrameChg>
      </pc:sldChg>
      <pc:sldChg chg="addSp delSp modSp add mod ord">
        <pc:chgData name="Julia Soares De Souza" userId="953dcab7-42c6-4562-93dc-3865f4a21f8b" providerId="ADAL" clId="{F631C316-402C-4C00-92DE-945D185B3588}" dt="2023-07-10T20:24:40.384" v="2030" actId="14100"/>
        <pc:sldMkLst>
          <pc:docMk/>
          <pc:sldMk cId="3482121332" sldId="2567"/>
        </pc:sldMkLst>
        <pc:spChg chg="add del">
          <ac:chgData name="Julia Soares De Souza" userId="953dcab7-42c6-4562-93dc-3865f4a21f8b" providerId="ADAL" clId="{F631C316-402C-4C00-92DE-945D185B3588}" dt="2023-07-10T14:39:43.785" v="1428" actId="22"/>
          <ac:spMkLst>
            <pc:docMk/>
            <pc:sldMk cId="3482121332" sldId="2567"/>
            <ac:spMk id="10" creationId="{7BEB3E47-12B6-993A-7EEB-A5FF3ABFC2CB}"/>
          </ac:spMkLst>
        </pc:spChg>
        <pc:spChg chg="mod">
          <ac:chgData name="Julia Soares De Souza" userId="953dcab7-42c6-4562-93dc-3865f4a21f8b" providerId="ADAL" clId="{F631C316-402C-4C00-92DE-945D185B3588}" dt="2023-07-10T20:15:08.717" v="1988" actId="20577"/>
          <ac:spMkLst>
            <pc:docMk/>
            <pc:sldMk cId="3482121332" sldId="2567"/>
            <ac:spMk id="11" creationId="{FBC9CA71-0FFD-AEBB-0A52-35748CAE9AF9}"/>
          </ac:spMkLst>
        </pc:spChg>
        <pc:spChg chg="mod">
          <ac:chgData name="Julia Soares De Souza" userId="953dcab7-42c6-4562-93dc-3865f4a21f8b" providerId="ADAL" clId="{F631C316-402C-4C00-92DE-945D185B3588}" dt="2023-07-10T17:38:13.723" v="1889" actId="1076"/>
          <ac:spMkLst>
            <pc:docMk/>
            <pc:sldMk cId="3482121332" sldId="2567"/>
            <ac:spMk id="17" creationId="{4C1C5954-C1CE-8079-234E-F4B378528382}"/>
          </ac:spMkLst>
        </pc:spChg>
        <pc:graphicFrameChg chg="add del mod">
          <ac:chgData name="Julia Soares De Souza" userId="953dcab7-42c6-4562-93dc-3865f4a21f8b" providerId="ADAL" clId="{F631C316-402C-4C00-92DE-945D185B3588}" dt="2023-07-10T15:05:03.866" v="1457" actId="478"/>
          <ac:graphicFrameMkLst>
            <pc:docMk/>
            <pc:sldMk cId="3482121332" sldId="2567"/>
            <ac:graphicFrameMk id="12" creationId="{6973A65B-2DE6-4147-8FD7-C87C019EB0EB}"/>
          </ac:graphicFrameMkLst>
        </pc:graphicFrameChg>
        <pc:graphicFrameChg chg="add del mod">
          <ac:chgData name="Julia Soares De Souza" userId="953dcab7-42c6-4562-93dc-3865f4a21f8b" providerId="ADAL" clId="{F631C316-402C-4C00-92DE-945D185B3588}" dt="2023-07-10T15:35:27.435" v="1461" actId="478"/>
          <ac:graphicFrameMkLst>
            <pc:docMk/>
            <pc:sldMk cId="3482121332" sldId="2567"/>
            <ac:graphicFrameMk id="13" creationId="{6973A65B-2DE6-4147-8FD7-C87C019EB0EB}"/>
          </ac:graphicFrameMkLst>
        </pc:graphicFrameChg>
        <pc:graphicFrameChg chg="add del mod">
          <ac:chgData name="Julia Soares De Souza" userId="953dcab7-42c6-4562-93dc-3865f4a21f8b" providerId="ADAL" clId="{F631C316-402C-4C00-92DE-945D185B3588}" dt="2023-07-10T20:15:12.585" v="1989" actId="478"/>
          <ac:graphicFrameMkLst>
            <pc:docMk/>
            <pc:sldMk cId="3482121332" sldId="2567"/>
            <ac:graphicFrameMk id="14" creationId="{6973A65B-2DE6-4147-8FD7-C87C019EB0EB}"/>
          </ac:graphicFrameMkLst>
        </pc:graphicFrameChg>
        <pc:graphicFrameChg chg="add mod">
          <ac:chgData name="Julia Soares De Souza" userId="953dcab7-42c6-4562-93dc-3865f4a21f8b" providerId="ADAL" clId="{F631C316-402C-4C00-92DE-945D185B3588}" dt="2023-07-10T20:24:40.384" v="2030" actId="14100"/>
          <ac:graphicFrameMkLst>
            <pc:docMk/>
            <pc:sldMk cId="3482121332" sldId="2567"/>
            <ac:graphicFrameMk id="15" creationId="{8A774BFC-C8D0-A203-E839-0945283A4F60}"/>
          </ac:graphicFrameMkLst>
        </pc:graphicFrameChg>
      </pc:sldChg>
      <pc:sldChg chg="addSp delSp modSp add mod ord">
        <pc:chgData name="Julia Soares De Souza" userId="953dcab7-42c6-4562-93dc-3865f4a21f8b" providerId="ADAL" clId="{F631C316-402C-4C00-92DE-945D185B3588}" dt="2023-07-10T16:52:03.479" v="1804" actId="948"/>
        <pc:sldMkLst>
          <pc:docMk/>
          <pc:sldMk cId="2993942827" sldId="2568"/>
        </pc:sldMkLst>
        <pc:spChg chg="mod">
          <ac:chgData name="Julia Soares De Souza" userId="953dcab7-42c6-4562-93dc-3865f4a21f8b" providerId="ADAL" clId="{F631C316-402C-4C00-92DE-945D185B3588}" dt="2023-07-10T14:27:55.203" v="1361" actId="20577"/>
          <ac:spMkLst>
            <pc:docMk/>
            <pc:sldMk cId="2993942827" sldId="2568"/>
            <ac:spMk id="4" creationId="{F42AD3D3-3921-C50C-4812-F8D0DD14FD95}"/>
          </ac:spMkLst>
        </pc:spChg>
        <pc:spChg chg="add mod">
          <ac:chgData name="Julia Soares De Souza" userId="953dcab7-42c6-4562-93dc-3865f4a21f8b" providerId="ADAL" clId="{F631C316-402C-4C00-92DE-945D185B3588}" dt="2023-07-10T16:52:03.479" v="1804" actId="948"/>
          <ac:spMkLst>
            <pc:docMk/>
            <pc:sldMk cId="2993942827" sldId="2568"/>
            <ac:spMk id="9" creationId="{77184482-1DC6-4A2C-6701-AD34C249AF31}"/>
          </ac:spMkLst>
        </pc:spChg>
        <pc:graphicFrameChg chg="add del mod">
          <ac:chgData name="Julia Soares De Souza" userId="953dcab7-42c6-4562-93dc-3865f4a21f8b" providerId="ADAL" clId="{F631C316-402C-4C00-92DE-945D185B3588}" dt="2023-07-10T16:18:00.148" v="1712" actId="478"/>
          <ac:graphicFrameMkLst>
            <pc:docMk/>
            <pc:sldMk cId="2993942827" sldId="2568"/>
            <ac:graphicFrameMk id="2" creationId="{CDD2D019-5744-44B5-BAF3-4085F4274209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14:27:59.421" v="1362" actId="478"/>
          <ac:graphicFrameMkLst>
            <pc:docMk/>
            <pc:sldMk cId="2993942827" sldId="2568"/>
            <ac:graphicFrameMk id="3" creationId="{AF51C551-6D30-4122-8AB9-021945711297}"/>
          </ac:graphicFrameMkLst>
        </pc:graphicFrameChg>
        <pc:graphicFrameChg chg="add del mod">
          <ac:chgData name="Julia Soares De Souza" userId="953dcab7-42c6-4562-93dc-3865f4a21f8b" providerId="ADAL" clId="{F631C316-402C-4C00-92DE-945D185B3588}" dt="2023-07-10T16:17:57.986" v="1711" actId="478"/>
          <ac:graphicFrameMkLst>
            <pc:docMk/>
            <pc:sldMk cId="2993942827" sldId="2568"/>
            <ac:graphicFrameMk id="5" creationId="{A66F165B-3B1F-A160-42DB-0E2552E43A39}"/>
          </ac:graphicFrameMkLst>
        </pc:graphicFrameChg>
      </pc:sldChg>
      <pc:sldChg chg="addSp delSp modSp add mod ord">
        <pc:chgData name="Julia Soares De Souza" userId="953dcab7-42c6-4562-93dc-3865f4a21f8b" providerId="ADAL" clId="{F631C316-402C-4C00-92DE-945D185B3588}" dt="2023-07-10T20:13:47.979" v="1956"/>
        <pc:sldMkLst>
          <pc:docMk/>
          <pc:sldMk cId="3957592729" sldId="2569"/>
        </pc:sldMkLst>
        <pc:spChg chg="mod">
          <ac:chgData name="Julia Soares De Souza" userId="953dcab7-42c6-4562-93dc-3865f4a21f8b" providerId="ADAL" clId="{F631C316-402C-4C00-92DE-945D185B3588}" dt="2023-07-10T20:12:06.136" v="1938" actId="1076"/>
          <ac:spMkLst>
            <pc:docMk/>
            <pc:sldMk cId="3957592729" sldId="2569"/>
            <ac:spMk id="11" creationId="{FBC9CA71-0FFD-AEBB-0A52-35748CAE9AF9}"/>
          </ac:spMkLst>
        </pc:spChg>
        <pc:graphicFrameChg chg="add mod">
          <ac:chgData name="Julia Soares De Souza" userId="953dcab7-42c6-4562-93dc-3865f4a21f8b" providerId="ADAL" clId="{F631C316-402C-4C00-92DE-945D185B3588}" dt="2023-07-10T20:13:47.979" v="1956"/>
          <ac:graphicFrameMkLst>
            <pc:docMk/>
            <pc:sldMk cId="3957592729" sldId="2569"/>
            <ac:graphicFrameMk id="8" creationId="{D26FA48A-E32A-1678-F569-7A7C8D5EBE2D}"/>
          </ac:graphicFrameMkLst>
        </pc:graphicFrameChg>
        <pc:graphicFrameChg chg="del">
          <ac:chgData name="Julia Soares De Souza" userId="953dcab7-42c6-4562-93dc-3865f4a21f8b" providerId="ADAL" clId="{F631C316-402C-4C00-92DE-945D185B3588}" dt="2023-07-10T20:11:22.155" v="1900" actId="478"/>
          <ac:graphicFrameMkLst>
            <pc:docMk/>
            <pc:sldMk cId="3957592729" sldId="2569"/>
            <ac:graphicFrameMk id="10" creationId="{766C45EA-FD17-062E-32F5-B3200AE02DD8}"/>
          </ac:graphicFrameMkLst>
        </pc:graphicFrameChg>
      </pc:sldChg>
      <pc:sldChg chg="modSp add del mod ord modShow">
        <pc:chgData name="Julia Soares De Souza" userId="953dcab7-42c6-4562-93dc-3865f4a21f8b" providerId="ADAL" clId="{F631C316-402C-4C00-92DE-945D185B3588}" dt="2023-07-10T17:18:46.010" v="1806" actId="47"/>
        <pc:sldMkLst>
          <pc:docMk/>
          <pc:sldMk cId="4157292134" sldId="2569"/>
        </pc:sldMkLst>
        <pc:spChg chg="mod">
          <ac:chgData name="Julia Soares De Souza" userId="953dcab7-42c6-4562-93dc-3865f4a21f8b" providerId="ADAL" clId="{F631C316-402C-4C00-92DE-945D185B3588}" dt="2023-07-10T14:31:31.988" v="1422" actId="1076"/>
          <ac:spMkLst>
            <pc:docMk/>
            <pc:sldMk cId="4157292134" sldId="2569"/>
            <ac:spMk id="11" creationId="{FBC9CA71-0FFD-AEBB-0A52-35748CAE9AF9}"/>
          </ac:spMkLst>
        </pc:spChg>
      </pc:sldChg>
      <pc:sldChg chg="modSp add mod ord">
        <pc:chgData name="Julia Soares De Souza" userId="953dcab7-42c6-4562-93dc-3865f4a21f8b" providerId="ADAL" clId="{F631C316-402C-4C00-92DE-945D185B3588}" dt="2023-07-10T20:18:21.569" v="2004" actId="20577"/>
        <pc:sldMkLst>
          <pc:docMk/>
          <pc:sldMk cId="3371340282" sldId="2570"/>
        </pc:sldMkLst>
        <pc:spChg chg="mod">
          <ac:chgData name="Julia Soares De Souza" userId="953dcab7-42c6-4562-93dc-3865f4a21f8b" providerId="ADAL" clId="{F631C316-402C-4C00-92DE-945D185B3588}" dt="2023-07-10T20:18:21.569" v="2004" actId="20577"/>
          <ac:spMkLst>
            <pc:docMk/>
            <pc:sldMk cId="3371340282" sldId="2570"/>
            <ac:spMk id="11" creationId="{FBC9CA71-0FFD-AEBB-0A52-35748CAE9AF9}"/>
          </ac:spMkLst>
        </pc:spChg>
      </pc:sldChg>
      <pc:sldChg chg="add del">
        <pc:chgData name="Julia Soares De Souza" userId="953dcab7-42c6-4562-93dc-3865f4a21f8b" providerId="ADAL" clId="{F631C316-402C-4C00-92DE-945D185B3588}" dt="2023-07-10T20:14:47.969" v="1958" actId="47"/>
        <pc:sldMkLst>
          <pc:docMk/>
          <pc:sldMk cId="3446854622" sldId="2570"/>
        </pc:sldMkLst>
      </pc:sldChg>
      <pc:sldChg chg="modSp add del mod modShow">
        <pc:chgData name="Julia Soares De Souza" userId="953dcab7-42c6-4562-93dc-3865f4a21f8b" providerId="ADAL" clId="{F631C316-402C-4C00-92DE-945D185B3588}" dt="2023-07-10T17:18:43.944" v="1805" actId="47"/>
        <pc:sldMkLst>
          <pc:docMk/>
          <pc:sldMk cId="3486993016" sldId="2570"/>
        </pc:sldMkLst>
        <pc:spChg chg="mod">
          <ac:chgData name="Julia Soares De Souza" userId="953dcab7-42c6-4562-93dc-3865f4a21f8b" providerId="ADAL" clId="{F631C316-402C-4C00-92DE-945D185B3588}" dt="2023-07-10T14:31:46.191" v="1426" actId="1076"/>
          <ac:spMkLst>
            <pc:docMk/>
            <pc:sldMk cId="3486993016" sldId="2570"/>
            <ac:spMk id="11" creationId="{FBC9CA71-0FFD-AEBB-0A52-35748CAE9AF9}"/>
          </ac:spMkLst>
        </pc:spChg>
      </pc:sldChg>
      <pc:sldMasterChg chg="delSldLayout">
        <pc:chgData name="Julia Soares De Souza" userId="953dcab7-42c6-4562-93dc-3865f4a21f8b" providerId="ADAL" clId="{F631C316-402C-4C00-92DE-945D185B3588}" dt="2023-07-10T13:10:29.899" v="85" actId="47"/>
        <pc:sldMasterMkLst>
          <pc:docMk/>
          <pc:sldMasterMk cId="0" sldId="2147483648"/>
        </pc:sldMasterMkLst>
        <pc:sldLayoutChg chg="del">
          <pc:chgData name="Julia Soares De Souza" userId="953dcab7-42c6-4562-93dc-3865f4a21f8b" providerId="ADAL" clId="{F631C316-402C-4C00-92DE-945D185B3588}" dt="2023-07-10T13:07:28.919" v="1" actId="47"/>
          <pc:sldLayoutMkLst>
            <pc:docMk/>
            <pc:sldMasterMk cId="0" sldId="2147483648"/>
            <pc:sldLayoutMk cId="1403297429" sldId="2147483668"/>
          </pc:sldLayoutMkLst>
        </pc:sldLayoutChg>
        <pc:sldLayoutChg chg="del">
          <pc:chgData name="Julia Soares De Souza" userId="953dcab7-42c6-4562-93dc-3865f4a21f8b" providerId="ADAL" clId="{F631C316-402C-4C00-92DE-945D185B3588}" dt="2023-07-10T13:10:29.899" v="85" actId="47"/>
          <pc:sldLayoutMkLst>
            <pc:docMk/>
            <pc:sldMasterMk cId="0" sldId="2147483648"/>
            <pc:sldLayoutMk cId="434974813" sldId="2147483669"/>
          </pc:sldLayoutMkLst>
        </pc:sldLayoutChg>
        <pc:sldLayoutChg chg="del">
          <pc:chgData name="Julia Soares De Souza" userId="953dcab7-42c6-4562-93dc-3865f4a21f8b" providerId="ADAL" clId="{F631C316-402C-4C00-92DE-945D185B3588}" dt="2023-07-10T13:08:12.906" v="7" actId="47"/>
          <pc:sldLayoutMkLst>
            <pc:docMk/>
            <pc:sldMasterMk cId="0" sldId="2147483648"/>
            <pc:sldLayoutMk cId="3948111771" sldId="2147483670"/>
          </pc:sldLayoutMkLst>
        </pc:sldLayoutChg>
      </pc:sldMasterChg>
    </pc:docChg>
  </pc:docChgLst>
  <pc:docChgLst>
    <pc:chgData name="Ilana Ferreira" userId="ef46969b-0d75-4852-a2b0-2fc45c93ff40" providerId="ADAL" clId="{51252F1B-A6DA-4E8A-8911-9DB2571E7116}"/>
    <pc:docChg chg="undo custSel addSld delSld modSld sldOrd">
      <pc:chgData name="Ilana Ferreira" userId="ef46969b-0d75-4852-a2b0-2fc45c93ff40" providerId="ADAL" clId="{51252F1B-A6DA-4E8A-8911-9DB2571E7116}" dt="2023-08-30T15:57:02.719" v="3406" actId="122"/>
      <pc:docMkLst>
        <pc:docMk/>
      </pc:docMkLst>
      <pc:sldChg chg="delSp modSp add mod">
        <pc:chgData name="Ilana Ferreira" userId="ef46969b-0d75-4852-a2b0-2fc45c93ff40" providerId="ADAL" clId="{51252F1B-A6DA-4E8A-8911-9DB2571E7116}" dt="2023-08-29T19:57:48.127" v="451" actId="14100"/>
        <pc:sldMkLst>
          <pc:docMk/>
          <pc:sldMk cId="322007045" sldId="257"/>
        </pc:sldMkLst>
        <pc:spChg chg="del mod">
          <ac:chgData name="Ilana Ferreira" userId="ef46969b-0d75-4852-a2b0-2fc45c93ff40" providerId="ADAL" clId="{51252F1B-A6DA-4E8A-8911-9DB2571E7116}" dt="2023-08-29T19:18:46.273" v="177" actId="478"/>
          <ac:spMkLst>
            <pc:docMk/>
            <pc:sldMk cId="322007045" sldId="257"/>
            <ac:spMk id="2" creationId="{90A3D7F4-96B7-4568-992F-12DE711F2B31}"/>
          </ac:spMkLst>
        </pc:spChg>
        <pc:spChg chg="mod ord">
          <ac:chgData name="Ilana Ferreira" userId="ef46969b-0d75-4852-a2b0-2fc45c93ff40" providerId="ADAL" clId="{51252F1B-A6DA-4E8A-8911-9DB2571E7116}" dt="2023-08-29T19:54:54.235" v="432" actId="207"/>
          <ac:spMkLst>
            <pc:docMk/>
            <pc:sldMk cId="322007045" sldId="257"/>
            <ac:spMk id="9" creationId="{7883D559-BE0A-477E-A9F2-7767F2E5F1A9}"/>
          </ac:spMkLst>
        </pc:spChg>
        <pc:spChg chg="del">
          <ac:chgData name="Ilana Ferreira" userId="ef46969b-0d75-4852-a2b0-2fc45c93ff40" providerId="ADAL" clId="{51252F1B-A6DA-4E8A-8911-9DB2571E7116}" dt="2023-08-29T19:18:42.497" v="174" actId="478"/>
          <ac:spMkLst>
            <pc:docMk/>
            <pc:sldMk cId="322007045" sldId="257"/>
            <ac:spMk id="11" creationId="{4557CFF2-5FF7-43EF-B64D-E0503778EA9C}"/>
          </ac:spMkLst>
        </pc:spChg>
        <pc:spChg chg="del">
          <ac:chgData name="Ilana Ferreira" userId="ef46969b-0d75-4852-a2b0-2fc45c93ff40" providerId="ADAL" clId="{51252F1B-A6DA-4E8A-8911-9DB2571E7116}" dt="2023-08-29T19:18:55.838" v="179" actId="478"/>
          <ac:spMkLst>
            <pc:docMk/>
            <pc:sldMk cId="322007045" sldId="257"/>
            <ac:spMk id="13" creationId="{E9F6475B-7653-44AD-816A-DA3827512A13}"/>
          </ac:spMkLst>
        </pc:spChg>
        <pc:spChg chg="mod">
          <ac:chgData name="Ilana Ferreira" userId="ef46969b-0d75-4852-a2b0-2fc45c93ff40" providerId="ADAL" clId="{51252F1B-A6DA-4E8A-8911-9DB2571E7116}" dt="2023-08-29T19:57:48.127" v="451" actId="14100"/>
          <ac:spMkLst>
            <pc:docMk/>
            <pc:sldMk cId="322007045" sldId="257"/>
            <ac:spMk id="36" creationId="{76DFE8DC-7096-0578-CAF5-CFA9FD8C54C6}"/>
          </ac:spMkLst>
        </pc:spChg>
        <pc:spChg chg="del">
          <ac:chgData name="Ilana Ferreira" userId="ef46969b-0d75-4852-a2b0-2fc45c93ff40" providerId="ADAL" clId="{51252F1B-A6DA-4E8A-8911-9DB2571E7116}" dt="2023-08-29T19:18:41.340" v="173" actId="478"/>
          <ac:spMkLst>
            <pc:docMk/>
            <pc:sldMk cId="322007045" sldId="257"/>
            <ac:spMk id="37" creationId="{2BDBEC26-3CF1-4714-330D-4F312BA1FE63}"/>
          </ac:spMkLst>
        </pc:spChg>
        <pc:spChg chg="del">
          <ac:chgData name="Ilana Ferreira" userId="ef46969b-0d75-4852-a2b0-2fc45c93ff40" providerId="ADAL" clId="{51252F1B-A6DA-4E8A-8911-9DB2571E7116}" dt="2023-08-29T19:18:43.844" v="175" actId="478"/>
          <ac:spMkLst>
            <pc:docMk/>
            <pc:sldMk cId="322007045" sldId="257"/>
            <ac:spMk id="38" creationId="{E52FAFEA-FA6D-FDA2-399A-6405B9ECB78E}"/>
          </ac:spMkLst>
        </pc:spChg>
        <pc:spChg chg="del mod">
          <ac:chgData name="Ilana Ferreira" userId="ef46969b-0d75-4852-a2b0-2fc45c93ff40" providerId="ADAL" clId="{51252F1B-A6DA-4E8A-8911-9DB2571E7116}" dt="2023-08-29T19:18:57.475" v="181" actId="478"/>
          <ac:spMkLst>
            <pc:docMk/>
            <pc:sldMk cId="322007045" sldId="257"/>
            <ac:spMk id="39" creationId="{19837F6C-A0F5-6381-8831-BC6960B77ABF}"/>
          </ac:spMkLst>
        </pc:spChg>
        <pc:grpChg chg="mod ord">
          <ac:chgData name="Ilana Ferreira" userId="ef46969b-0d75-4852-a2b0-2fc45c93ff40" providerId="ADAL" clId="{51252F1B-A6DA-4E8A-8911-9DB2571E7116}" dt="2023-08-29T19:49:17.712" v="337" actId="1076"/>
          <ac:grpSpMkLst>
            <pc:docMk/>
            <pc:sldMk cId="322007045" sldId="257"/>
            <ac:grpSpMk id="10" creationId="{D4F07B81-E903-BC68-C5EF-EBD228EB2CD5}"/>
          </ac:grpSpMkLst>
        </pc:grpChg>
        <pc:picChg chg="mod ord modCrop">
          <ac:chgData name="Ilana Ferreira" userId="ef46969b-0d75-4852-a2b0-2fc45c93ff40" providerId="ADAL" clId="{51252F1B-A6DA-4E8A-8911-9DB2571E7116}" dt="2023-08-29T19:57:31.074" v="449" actId="166"/>
          <ac:picMkLst>
            <pc:docMk/>
            <pc:sldMk cId="322007045" sldId="257"/>
            <ac:picMk id="35" creationId="{EA508235-E3B9-B883-D765-3E0C7CB7D28F}"/>
          </ac:picMkLst>
        </pc:picChg>
      </pc:sldChg>
      <pc:sldChg chg="addSp delSp modSp add mod ord setBg">
        <pc:chgData name="Ilana Ferreira" userId="ef46969b-0d75-4852-a2b0-2fc45c93ff40" providerId="ADAL" clId="{51252F1B-A6DA-4E8A-8911-9DB2571E7116}" dt="2023-08-29T21:14:15.852" v="725" actId="20577"/>
        <pc:sldMkLst>
          <pc:docMk/>
          <pc:sldMk cId="2760591742" sldId="258"/>
        </pc:sldMkLst>
        <pc:spChg chg="mod">
          <ac:chgData name="Ilana Ferreira" userId="ef46969b-0d75-4852-a2b0-2fc45c93ff40" providerId="ADAL" clId="{51252F1B-A6DA-4E8A-8911-9DB2571E7116}" dt="2023-08-29T19:50:00.516" v="343" actId="1076"/>
          <ac:spMkLst>
            <pc:docMk/>
            <pc:sldMk cId="2760591742" sldId="258"/>
            <ac:spMk id="2" creationId="{3858F119-E995-473B-FEC1-EB874CEFA9C4}"/>
          </ac:spMkLst>
        </pc:spChg>
        <pc:spChg chg="add del mod">
          <ac:chgData name="Ilana Ferreira" userId="ef46969b-0d75-4852-a2b0-2fc45c93ff40" providerId="ADAL" clId="{51252F1B-A6DA-4E8A-8911-9DB2571E7116}" dt="2023-08-29T21:01:19.923" v="465" actId="478"/>
          <ac:spMkLst>
            <pc:docMk/>
            <pc:sldMk cId="2760591742" sldId="258"/>
            <ac:spMk id="6" creationId="{1A5A8CDA-D4C0-8533-3A2F-1C8F52EE56F9}"/>
          </ac:spMkLst>
        </pc:spChg>
        <pc:spChg chg="mod">
          <ac:chgData name="Ilana Ferreira" userId="ef46969b-0d75-4852-a2b0-2fc45c93ff40" providerId="ADAL" clId="{51252F1B-A6DA-4E8A-8911-9DB2571E7116}" dt="2023-08-29T19:56:48.781" v="438" actId="207"/>
          <ac:spMkLst>
            <pc:docMk/>
            <pc:sldMk cId="2760591742" sldId="258"/>
            <ac:spMk id="7" creationId="{3A88FE59-9D6F-9C91-EFDB-58108EA4111F}"/>
          </ac:spMkLst>
        </pc:spChg>
        <pc:spChg chg="add mod">
          <ac:chgData name="Ilana Ferreira" userId="ef46969b-0d75-4852-a2b0-2fc45c93ff40" providerId="ADAL" clId="{51252F1B-A6DA-4E8A-8911-9DB2571E7116}" dt="2023-08-29T21:04:16.008" v="493" actId="1076"/>
          <ac:spMkLst>
            <pc:docMk/>
            <pc:sldMk cId="2760591742" sldId="258"/>
            <ac:spMk id="8" creationId="{28C0735B-BB5F-8E90-BFE3-59CE40C23994}"/>
          </ac:spMkLst>
        </pc:spChg>
        <pc:spChg chg="add mod">
          <ac:chgData name="Ilana Ferreira" userId="ef46969b-0d75-4852-a2b0-2fc45c93ff40" providerId="ADAL" clId="{51252F1B-A6DA-4E8A-8911-9DB2571E7116}" dt="2023-08-29T21:05:03.150" v="517" actId="1076"/>
          <ac:spMkLst>
            <pc:docMk/>
            <pc:sldMk cId="2760591742" sldId="258"/>
            <ac:spMk id="10" creationId="{559BCE31-18E1-84FE-AB61-8B12702DB392}"/>
          </ac:spMkLst>
        </pc:spChg>
        <pc:spChg chg="add mod">
          <ac:chgData name="Ilana Ferreira" userId="ef46969b-0d75-4852-a2b0-2fc45c93ff40" providerId="ADAL" clId="{51252F1B-A6DA-4E8A-8911-9DB2571E7116}" dt="2023-08-29T21:05:07.728" v="518" actId="1076"/>
          <ac:spMkLst>
            <pc:docMk/>
            <pc:sldMk cId="2760591742" sldId="258"/>
            <ac:spMk id="11" creationId="{E6709FC8-3C66-E852-0E7C-E9085E1BD750}"/>
          </ac:spMkLst>
        </pc:spChg>
        <pc:spChg chg="mod">
          <ac:chgData name="Ilana Ferreira" userId="ef46969b-0d75-4852-a2b0-2fc45c93ff40" providerId="ADAL" clId="{51252F1B-A6DA-4E8A-8911-9DB2571E7116}" dt="2023-08-29T20:58:32.124" v="454" actId="207"/>
          <ac:spMkLst>
            <pc:docMk/>
            <pc:sldMk cId="2760591742" sldId="258"/>
            <ac:spMk id="12" creationId="{B06CAD8E-8F8D-D00C-2F65-CCD6B9F4A708}"/>
          </ac:spMkLst>
        </pc:spChg>
        <pc:spChg chg="add del mod">
          <ac:chgData name="Ilana Ferreira" userId="ef46969b-0d75-4852-a2b0-2fc45c93ff40" providerId="ADAL" clId="{51252F1B-A6DA-4E8A-8911-9DB2571E7116}" dt="2023-08-29T21:13:27.284" v="619" actId="478"/>
          <ac:spMkLst>
            <pc:docMk/>
            <pc:sldMk cId="2760591742" sldId="258"/>
            <ac:spMk id="13" creationId="{4CDB0103-EF48-5AA4-3D3E-EB6E3EFAB27B}"/>
          </ac:spMkLst>
        </pc:spChg>
        <pc:spChg chg="mod">
          <ac:chgData name="Ilana Ferreira" userId="ef46969b-0d75-4852-a2b0-2fc45c93ff40" providerId="ADAL" clId="{51252F1B-A6DA-4E8A-8911-9DB2571E7116}" dt="2023-08-29T19:49:42.356" v="338" actId="164"/>
          <ac:spMkLst>
            <pc:docMk/>
            <pc:sldMk cId="2760591742" sldId="258"/>
            <ac:spMk id="16" creationId="{9BAAA5FE-FBBC-10DB-3BBC-116BF50885B2}"/>
          </ac:spMkLst>
        </pc:spChg>
        <pc:spChg chg="mod">
          <ac:chgData name="Ilana Ferreira" userId="ef46969b-0d75-4852-a2b0-2fc45c93ff40" providerId="ADAL" clId="{51252F1B-A6DA-4E8A-8911-9DB2571E7116}" dt="2023-08-29T19:50:07.258" v="344" actId="1076"/>
          <ac:spMkLst>
            <pc:docMk/>
            <pc:sldMk cId="2760591742" sldId="258"/>
            <ac:spMk id="18" creationId="{ED633FF3-3806-FDF3-D118-0E606644C0F8}"/>
          </ac:spMkLst>
        </pc:spChg>
        <pc:spChg chg="mod">
          <ac:chgData name="Ilana Ferreira" userId="ef46969b-0d75-4852-a2b0-2fc45c93ff40" providerId="ADAL" clId="{51252F1B-A6DA-4E8A-8911-9DB2571E7116}" dt="2023-08-29T20:58:34.797" v="455" actId="207"/>
          <ac:spMkLst>
            <pc:docMk/>
            <pc:sldMk cId="2760591742" sldId="258"/>
            <ac:spMk id="19" creationId="{5C51D169-239B-CEEE-9D4F-48EB993FFF05}"/>
          </ac:spMkLst>
        </pc:spChg>
        <pc:spChg chg="mod">
          <ac:chgData name="Ilana Ferreira" userId="ef46969b-0d75-4852-a2b0-2fc45c93ff40" providerId="ADAL" clId="{51252F1B-A6DA-4E8A-8911-9DB2571E7116}" dt="2023-08-29T19:50:17.761" v="346" actId="164"/>
          <ac:spMkLst>
            <pc:docMk/>
            <pc:sldMk cId="2760591742" sldId="258"/>
            <ac:spMk id="20" creationId="{91D35766-BE27-8585-8202-49CBAAB251A3}"/>
          </ac:spMkLst>
        </pc:spChg>
        <pc:spChg chg="mod">
          <ac:chgData name="Ilana Ferreira" userId="ef46969b-0d75-4852-a2b0-2fc45c93ff40" providerId="ADAL" clId="{51252F1B-A6DA-4E8A-8911-9DB2571E7116}" dt="2023-08-29T19:50:50.013" v="360" actId="1035"/>
          <ac:spMkLst>
            <pc:docMk/>
            <pc:sldMk cId="2760591742" sldId="258"/>
            <ac:spMk id="22" creationId="{C225182D-8DC0-68D8-DADE-26B8DD19C1F7}"/>
          </ac:spMkLst>
        </pc:spChg>
        <pc:spChg chg="mod">
          <ac:chgData name="Ilana Ferreira" userId="ef46969b-0d75-4852-a2b0-2fc45c93ff40" providerId="ADAL" clId="{51252F1B-A6DA-4E8A-8911-9DB2571E7116}" dt="2023-08-29T19:52:02.126" v="413" actId="1037"/>
          <ac:spMkLst>
            <pc:docMk/>
            <pc:sldMk cId="2760591742" sldId="258"/>
            <ac:spMk id="23" creationId="{1E7AA764-39DA-20AA-643F-5B03399357D1}"/>
          </ac:spMkLst>
        </pc:spChg>
        <pc:spChg chg="mod">
          <ac:chgData name="Ilana Ferreira" userId="ef46969b-0d75-4852-a2b0-2fc45c93ff40" providerId="ADAL" clId="{51252F1B-A6DA-4E8A-8911-9DB2571E7116}" dt="2023-08-29T21:03:11.015" v="488" actId="1076"/>
          <ac:spMkLst>
            <pc:docMk/>
            <pc:sldMk cId="2760591742" sldId="258"/>
            <ac:spMk id="24" creationId="{649C583C-756D-0C11-BA98-036953F6ACDC}"/>
          </ac:spMkLst>
        </pc:spChg>
        <pc:spChg chg="mod">
          <ac:chgData name="Ilana Ferreira" userId="ef46969b-0d75-4852-a2b0-2fc45c93ff40" providerId="ADAL" clId="{51252F1B-A6DA-4E8A-8911-9DB2571E7116}" dt="2023-08-29T19:51:27.174" v="378" actId="164"/>
          <ac:spMkLst>
            <pc:docMk/>
            <pc:sldMk cId="2760591742" sldId="258"/>
            <ac:spMk id="25" creationId="{E067C641-B0FF-4A40-72ED-2E3951833440}"/>
          </ac:spMkLst>
        </pc:spChg>
        <pc:spChg chg="mod">
          <ac:chgData name="Ilana Ferreira" userId="ef46969b-0d75-4852-a2b0-2fc45c93ff40" providerId="ADAL" clId="{51252F1B-A6DA-4E8A-8911-9DB2571E7116}" dt="2023-08-29T19:51:44.871" v="389" actId="1035"/>
          <ac:spMkLst>
            <pc:docMk/>
            <pc:sldMk cId="2760591742" sldId="258"/>
            <ac:spMk id="26" creationId="{66BE0A1D-63E4-AD17-F3A1-755171759D55}"/>
          </ac:spMkLst>
        </pc:spChg>
        <pc:spChg chg="mod">
          <ac:chgData name="Ilana Ferreira" userId="ef46969b-0d75-4852-a2b0-2fc45c93ff40" providerId="ADAL" clId="{51252F1B-A6DA-4E8A-8911-9DB2571E7116}" dt="2023-08-29T21:03:11.015" v="488" actId="1076"/>
          <ac:spMkLst>
            <pc:docMk/>
            <pc:sldMk cId="2760591742" sldId="258"/>
            <ac:spMk id="27" creationId="{382FF04E-850F-BFFB-609D-26D08F3156A6}"/>
          </ac:spMkLst>
        </pc:spChg>
        <pc:spChg chg="mod">
          <ac:chgData name="Ilana Ferreira" userId="ef46969b-0d75-4852-a2b0-2fc45c93ff40" providerId="ADAL" clId="{51252F1B-A6DA-4E8A-8911-9DB2571E7116}" dt="2023-08-29T20:58:26.474" v="453" actId="207"/>
          <ac:spMkLst>
            <pc:docMk/>
            <pc:sldMk cId="2760591742" sldId="258"/>
            <ac:spMk id="35" creationId="{2CAD4A00-DA8E-B092-9B16-99BCACD80218}"/>
          </ac:spMkLst>
        </pc:spChg>
        <pc:spChg chg="mod">
          <ac:chgData name="Ilana Ferreira" userId="ef46969b-0d75-4852-a2b0-2fc45c93ff40" providerId="ADAL" clId="{51252F1B-A6DA-4E8A-8911-9DB2571E7116}" dt="2023-08-29T19:52:09.351" v="414" actId="1076"/>
          <ac:spMkLst>
            <pc:docMk/>
            <pc:sldMk cId="2760591742" sldId="258"/>
            <ac:spMk id="36" creationId="{B5BDECDB-B19F-E737-201C-AD2E1730490B}"/>
          </ac:spMkLst>
        </pc:spChg>
        <pc:spChg chg="mod">
          <ac:chgData name="Ilana Ferreira" userId="ef46969b-0d75-4852-a2b0-2fc45c93ff40" providerId="ADAL" clId="{51252F1B-A6DA-4E8A-8911-9DB2571E7116}" dt="2023-08-29T19:52:09.351" v="414" actId="1076"/>
          <ac:spMkLst>
            <pc:docMk/>
            <pc:sldMk cId="2760591742" sldId="258"/>
            <ac:spMk id="37" creationId="{211BA541-1FF7-5141-31C2-802A40008FFC}"/>
          </ac:spMkLst>
        </pc:spChg>
        <pc:spChg chg="mod">
          <ac:chgData name="Ilana Ferreira" userId="ef46969b-0d75-4852-a2b0-2fc45c93ff40" providerId="ADAL" clId="{51252F1B-A6DA-4E8A-8911-9DB2571E7116}" dt="2023-08-29T19:52:09.351" v="414" actId="1076"/>
          <ac:spMkLst>
            <pc:docMk/>
            <pc:sldMk cId="2760591742" sldId="258"/>
            <ac:spMk id="57" creationId="{6C6B0A93-C4D4-505A-5942-962C7EDF6B5D}"/>
          </ac:spMkLst>
        </pc:spChg>
        <pc:spChg chg="mod">
          <ac:chgData name="Ilana Ferreira" userId="ef46969b-0d75-4852-a2b0-2fc45c93ff40" providerId="ADAL" clId="{51252F1B-A6DA-4E8A-8911-9DB2571E7116}" dt="2023-08-29T19:52:09.351" v="414" actId="1076"/>
          <ac:spMkLst>
            <pc:docMk/>
            <pc:sldMk cId="2760591742" sldId="258"/>
            <ac:spMk id="63" creationId="{5CD26A69-8D1D-1459-FDFD-EB66F4BE491C}"/>
          </ac:spMkLst>
        </pc:spChg>
        <pc:spChg chg="del">
          <ac:chgData name="Ilana Ferreira" userId="ef46969b-0d75-4852-a2b0-2fc45c93ff40" providerId="ADAL" clId="{51252F1B-A6DA-4E8A-8911-9DB2571E7116}" dt="2023-08-29T19:43:48.368" v="323" actId="478"/>
          <ac:spMkLst>
            <pc:docMk/>
            <pc:sldMk cId="2760591742" sldId="258"/>
            <ac:spMk id="3072" creationId="{68B9CF6B-E7E5-EF41-464D-0056A13DDB59}"/>
          </ac:spMkLst>
        </pc:spChg>
        <pc:spChg chg="del">
          <ac:chgData name="Ilana Ferreira" userId="ef46969b-0d75-4852-a2b0-2fc45c93ff40" providerId="ADAL" clId="{51252F1B-A6DA-4E8A-8911-9DB2571E7116}" dt="2023-08-29T19:43:48.368" v="323" actId="478"/>
          <ac:spMkLst>
            <pc:docMk/>
            <pc:sldMk cId="2760591742" sldId="258"/>
            <ac:spMk id="3075" creationId="{E7D73182-B0A1-2322-96BC-4776D8B6B889}"/>
          </ac:spMkLst>
        </pc:spChg>
        <pc:spChg chg="del">
          <ac:chgData name="Ilana Ferreira" userId="ef46969b-0d75-4852-a2b0-2fc45c93ff40" providerId="ADAL" clId="{51252F1B-A6DA-4E8A-8911-9DB2571E7116}" dt="2023-08-29T19:43:48.368" v="323" actId="478"/>
          <ac:spMkLst>
            <pc:docMk/>
            <pc:sldMk cId="2760591742" sldId="258"/>
            <ac:spMk id="3079" creationId="{6B962094-FA27-9009-BBE9-B5FDF8247C51}"/>
          </ac:spMkLst>
        </pc:spChg>
        <pc:spChg chg="mod">
          <ac:chgData name="Ilana Ferreira" userId="ef46969b-0d75-4852-a2b0-2fc45c93ff40" providerId="ADAL" clId="{51252F1B-A6DA-4E8A-8911-9DB2571E7116}" dt="2023-08-29T21:14:15.852" v="725" actId="20577"/>
          <ac:spMkLst>
            <pc:docMk/>
            <pc:sldMk cId="2760591742" sldId="258"/>
            <ac:spMk id="3129" creationId="{C5D4C4CA-B2BD-8935-800D-C0C65D6D6ADC}"/>
          </ac:spMkLst>
        </pc:spChg>
        <pc:grpChg chg="add mod">
          <ac:chgData name="Ilana Ferreira" userId="ef46969b-0d75-4852-a2b0-2fc45c93ff40" providerId="ADAL" clId="{51252F1B-A6DA-4E8A-8911-9DB2571E7116}" dt="2023-08-29T19:51:07.536" v="366" actId="14100"/>
          <ac:grpSpMkLst>
            <pc:docMk/>
            <pc:sldMk cId="2760591742" sldId="258"/>
            <ac:grpSpMk id="3" creationId="{D6207C64-4152-6B6B-2DAC-4689499BFB79}"/>
          </ac:grpSpMkLst>
        </pc:grpChg>
        <pc:grpChg chg="add mod">
          <ac:chgData name="Ilana Ferreira" userId="ef46969b-0d75-4852-a2b0-2fc45c93ff40" providerId="ADAL" clId="{51252F1B-A6DA-4E8A-8911-9DB2571E7116}" dt="2023-08-29T19:52:02.126" v="413" actId="1037"/>
          <ac:grpSpMkLst>
            <pc:docMk/>
            <pc:sldMk cId="2760591742" sldId="258"/>
            <ac:grpSpMk id="4" creationId="{13CC2D24-F49B-EA28-50CF-925A453F382D}"/>
          </ac:grpSpMkLst>
        </pc:grpChg>
        <pc:grpChg chg="add mod">
          <ac:chgData name="Ilana Ferreira" userId="ef46969b-0d75-4852-a2b0-2fc45c93ff40" providerId="ADAL" clId="{51252F1B-A6DA-4E8A-8911-9DB2571E7116}" dt="2023-08-29T19:51:41.881" v="386" actId="1076"/>
          <ac:grpSpMkLst>
            <pc:docMk/>
            <pc:sldMk cId="2760591742" sldId="258"/>
            <ac:grpSpMk id="5" creationId="{960B2217-D308-E3DD-0FF7-97DF11F036B7}"/>
          </ac:grpSpMkLst>
        </pc:grpChg>
        <pc:grpChg chg="mod">
          <ac:chgData name="Ilana Ferreira" userId="ef46969b-0d75-4852-a2b0-2fc45c93ff40" providerId="ADAL" clId="{51252F1B-A6DA-4E8A-8911-9DB2571E7116}" dt="2023-08-29T19:50:17.761" v="346" actId="164"/>
          <ac:grpSpMkLst>
            <pc:docMk/>
            <pc:sldMk cId="2760591742" sldId="258"/>
            <ac:grpSpMk id="34" creationId="{0BB23723-E797-3CD5-74F9-14CDD2E29EFF}"/>
          </ac:grpSpMkLst>
        </pc:grpChg>
        <pc:grpChg chg="mod">
          <ac:chgData name="Ilana Ferreira" userId="ef46969b-0d75-4852-a2b0-2fc45c93ff40" providerId="ADAL" clId="{51252F1B-A6DA-4E8A-8911-9DB2571E7116}" dt="2023-08-29T19:51:27.174" v="378" actId="164"/>
          <ac:grpSpMkLst>
            <pc:docMk/>
            <pc:sldMk cId="2760591742" sldId="258"/>
            <ac:grpSpMk id="60" creationId="{10353AF2-450E-C2B8-A846-4577505D30D9}"/>
          </ac:grpSpMkLst>
        </pc:grpChg>
        <pc:picChg chg="mod">
          <ac:chgData name="Ilana Ferreira" userId="ef46969b-0d75-4852-a2b0-2fc45c93ff40" providerId="ADAL" clId="{51252F1B-A6DA-4E8A-8911-9DB2571E7116}" dt="2023-08-29T19:49:42.356" v="338" actId="164"/>
          <ac:picMkLst>
            <pc:docMk/>
            <pc:sldMk cId="2760591742" sldId="258"/>
            <ac:picMk id="53" creationId="{B22F4A5A-9279-C93E-CD3E-E769F5CC4BA2}"/>
          </ac:picMkLst>
        </pc:picChg>
        <pc:picChg chg="del">
          <ac:chgData name="Ilana Ferreira" userId="ef46969b-0d75-4852-a2b0-2fc45c93ff40" providerId="ADAL" clId="{51252F1B-A6DA-4E8A-8911-9DB2571E7116}" dt="2023-08-29T19:43:32.609" v="321" actId="478"/>
          <ac:picMkLst>
            <pc:docMk/>
            <pc:sldMk cId="2760591742" sldId="258"/>
            <ac:picMk id="3074" creationId="{520E0D18-8CD4-11F8-E5DC-431202A37278}"/>
          </ac:picMkLst>
        </pc:picChg>
        <pc:picChg chg="del">
          <ac:chgData name="Ilana Ferreira" userId="ef46969b-0d75-4852-a2b0-2fc45c93ff40" providerId="ADAL" clId="{51252F1B-A6DA-4E8A-8911-9DB2571E7116}" dt="2023-08-29T19:43:29.909" v="320" actId="478"/>
          <ac:picMkLst>
            <pc:docMk/>
            <pc:sldMk cId="2760591742" sldId="258"/>
            <ac:picMk id="3076" creationId="{1923AA1E-B6D2-B1F9-DD09-FDC44BF56DB3}"/>
          </ac:picMkLst>
        </pc:picChg>
      </pc:sldChg>
      <pc:sldChg chg="addSp delSp modSp add mod ord modAnim">
        <pc:chgData name="Ilana Ferreira" userId="ef46969b-0d75-4852-a2b0-2fc45c93ff40" providerId="ADAL" clId="{51252F1B-A6DA-4E8A-8911-9DB2571E7116}" dt="2023-08-30T15:57:02.719" v="3406" actId="122"/>
        <pc:sldMkLst>
          <pc:docMk/>
          <pc:sldMk cId="2639037071" sldId="259"/>
        </pc:sldMkLst>
        <pc:spChg chg="add del mod">
          <ac:chgData name="Ilana Ferreira" userId="ef46969b-0d75-4852-a2b0-2fc45c93ff40" providerId="ADAL" clId="{51252F1B-A6DA-4E8A-8911-9DB2571E7116}" dt="2023-08-29T21:37:27.933" v="1389"/>
          <ac:spMkLst>
            <pc:docMk/>
            <pc:sldMk cId="2639037071" sldId="259"/>
            <ac:spMk id="2" creationId="{0B1D5DFC-F748-36BE-E7A2-553C7E34C5AD}"/>
          </ac:spMkLst>
        </pc:spChg>
        <pc:spChg chg="mod">
          <ac:chgData name="Ilana Ferreira" userId="ef46969b-0d75-4852-a2b0-2fc45c93ff40" providerId="ADAL" clId="{51252F1B-A6DA-4E8A-8911-9DB2571E7116}" dt="2023-08-30T15:56:53.577" v="3403" actId="1038"/>
          <ac:spMkLst>
            <pc:docMk/>
            <pc:sldMk cId="2639037071" sldId="259"/>
            <ac:spMk id="8" creationId="{797BA3C1-B515-8472-D3B6-2A3E7351CEA1}"/>
          </ac:spMkLst>
        </pc:spChg>
        <pc:spChg chg="add del mod">
          <ac:chgData name="Ilana Ferreira" userId="ef46969b-0d75-4852-a2b0-2fc45c93ff40" providerId="ADAL" clId="{51252F1B-A6DA-4E8A-8911-9DB2571E7116}" dt="2023-08-29T21:37:27.933" v="1389"/>
          <ac:spMkLst>
            <pc:docMk/>
            <pc:sldMk cId="2639037071" sldId="259"/>
            <ac:spMk id="10" creationId="{CBA8921C-9F11-69AB-8220-4A7AA224ED5E}"/>
          </ac:spMkLst>
        </pc:spChg>
        <pc:spChg chg="add del mod">
          <ac:chgData name="Ilana Ferreira" userId="ef46969b-0d75-4852-a2b0-2fc45c93ff40" providerId="ADAL" clId="{51252F1B-A6DA-4E8A-8911-9DB2571E7116}" dt="2023-08-29T21:37:27.933" v="1389"/>
          <ac:spMkLst>
            <pc:docMk/>
            <pc:sldMk cId="2639037071" sldId="259"/>
            <ac:spMk id="11" creationId="{D0BFD5F3-4E66-E3D3-925F-E58F4C6F9806}"/>
          </ac:spMkLst>
        </pc:spChg>
        <pc:spChg chg="add del mod">
          <ac:chgData name="Ilana Ferreira" userId="ef46969b-0d75-4852-a2b0-2fc45c93ff40" providerId="ADAL" clId="{51252F1B-A6DA-4E8A-8911-9DB2571E7116}" dt="2023-08-29T21:37:27.933" v="1389"/>
          <ac:spMkLst>
            <pc:docMk/>
            <pc:sldMk cId="2639037071" sldId="259"/>
            <ac:spMk id="12" creationId="{2F9E1291-C62B-C5B8-C1BF-6F3AD88C0845}"/>
          </ac:spMkLst>
        </pc:spChg>
        <pc:spChg chg="add del mod">
          <ac:chgData name="Ilana Ferreira" userId="ef46969b-0d75-4852-a2b0-2fc45c93ff40" providerId="ADAL" clId="{51252F1B-A6DA-4E8A-8911-9DB2571E7116}" dt="2023-08-29T21:38:12.170" v="1396"/>
          <ac:spMkLst>
            <pc:docMk/>
            <pc:sldMk cId="2639037071" sldId="259"/>
            <ac:spMk id="13" creationId="{73A2521B-DB08-5204-3690-59BFA6806ECB}"/>
          </ac:spMkLst>
        </pc:spChg>
        <pc:spChg chg="mod">
          <ac:chgData name="Ilana Ferreira" userId="ef46969b-0d75-4852-a2b0-2fc45c93ff40" providerId="ADAL" clId="{51252F1B-A6DA-4E8A-8911-9DB2571E7116}" dt="2023-08-30T15:57:02.719" v="3406" actId="122"/>
          <ac:spMkLst>
            <pc:docMk/>
            <pc:sldMk cId="2639037071" sldId="259"/>
            <ac:spMk id="14" creationId="{71120A61-FC3C-324A-CB9E-3BBED439A1A3}"/>
          </ac:spMkLst>
        </pc:spChg>
        <pc:spChg chg="del">
          <ac:chgData name="Ilana Ferreira" userId="ef46969b-0d75-4852-a2b0-2fc45c93ff40" providerId="ADAL" clId="{51252F1B-A6DA-4E8A-8911-9DB2571E7116}" dt="2023-08-29T21:37:37.677" v="1392" actId="478"/>
          <ac:spMkLst>
            <pc:docMk/>
            <pc:sldMk cId="2639037071" sldId="259"/>
            <ac:spMk id="19" creationId="{8EF30840-0309-BB2C-8775-2074BB92F581}"/>
          </ac:spMkLst>
        </pc:spChg>
        <pc:spChg chg="add del mod">
          <ac:chgData name="Ilana Ferreira" userId="ef46969b-0d75-4852-a2b0-2fc45c93ff40" providerId="ADAL" clId="{51252F1B-A6DA-4E8A-8911-9DB2571E7116}" dt="2023-08-29T21:38:12.170" v="1396"/>
          <ac:spMkLst>
            <pc:docMk/>
            <pc:sldMk cId="2639037071" sldId="259"/>
            <ac:spMk id="20" creationId="{DD445EC7-920C-57FB-4223-63F95D9CFB3D}"/>
          </ac:spMkLst>
        </pc:spChg>
        <pc:spChg chg="add del mod">
          <ac:chgData name="Ilana Ferreira" userId="ef46969b-0d75-4852-a2b0-2fc45c93ff40" providerId="ADAL" clId="{51252F1B-A6DA-4E8A-8911-9DB2571E7116}" dt="2023-08-29T21:38:12.170" v="1396"/>
          <ac:spMkLst>
            <pc:docMk/>
            <pc:sldMk cId="2639037071" sldId="259"/>
            <ac:spMk id="21" creationId="{EA6B05B5-3132-C5CE-821F-2B9A04F0D1AC}"/>
          </ac:spMkLst>
        </pc:spChg>
        <pc:spChg chg="add del mod">
          <ac:chgData name="Ilana Ferreira" userId="ef46969b-0d75-4852-a2b0-2fc45c93ff40" providerId="ADAL" clId="{51252F1B-A6DA-4E8A-8911-9DB2571E7116}" dt="2023-08-29T21:38:12.170" v="1396"/>
          <ac:spMkLst>
            <pc:docMk/>
            <pc:sldMk cId="2639037071" sldId="259"/>
            <ac:spMk id="22" creationId="{0AB7EB44-6FDE-449C-E59A-A96B6FB5B554}"/>
          </ac:spMkLst>
        </pc:spChg>
        <pc:spChg chg="add mod">
          <ac:chgData name="Ilana Ferreira" userId="ef46969b-0d75-4852-a2b0-2fc45c93ff40" providerId="ADAL" clId="{51252F1B-A6DA-4E8A-8911-9DB2571E7116}" dt="2023-08-29T21:38:22.037" v="1398"/>
          <ac:spMkLst>
            <pc:docMk/>
            <pc:sldMk cId="2639037071" sldId="259"/>
            <ac:spMk id="23" creationId="{7BC90279-03A7-914C-8B7A-1A29BC36AB92}"/>
          </ac:spMkLst>
        </pc:spChg>
        <pc:spChg chg="mod">
          <ac:chgData name="Ilana Ferreira" userId="ef46969b-0d75-4852-a2b0-2fc45c93ff40" providerId="ADAL" clId="{51252F1B-A6DA-4E8A-8911-9DB2571E7116}" dt="2023-08-29T21:38:31.716" v="1399" actId="1076"/>
          <ac:spMkLst>
            <pc:docMk/>
            <pc:sldMk cId="2639037071" sldId="259"/>
            <ac:spMk id="24" creationId="{7736E661-5156-8FFC-D7D3-162F2E750149}"/>
          </ac:spMkLst>
        </pc:spChg>
        <pc:spChg chg="mod">
          <ac:chgData name="Ilana Ferreira" userId="ef46969b-0d75-4852-a2b0-2fc45c93ff40" providerId="ADAL" clId="{51252F1B-A6DA-4E8A-8911-9DB2571E7116}" dt="2023-08-29T22:02:16.002" v="1993" actId="20577"/>
          <ac:spMkLst>
            <pc:docMk/>
            <pc:sldMk cId="2639037071" sldId="259"/>
            <ac:spMk id="31" creationId="{6424D2B9-0959-92DB-445E-668C5F2F7816}"/>
          </ac:spMkLst>
        </pc:spChg>
        <pc:spChg chg="mod">
          <ac:chgData name="Ilana Ferreira" userId="ef46969b-0d75-4852-a2b0-2fc45c93ff40" providerId="ADAL" clId="{51252F1B-A6DA-4E8A-8911-9DB2571E7116}" dt="2023-08-29T21:56:44.620" v="1715" actId="1076"/>
          <ac:spMkLst>
            <pc:docMk/>
            <pc:sldMk cId="2639037071" sldId="259"/>
            <ac:spMk id="32" creationId="{009E2584-C0D9-8489-C31A-367AC1407C83}"/>
          </ac:spMkLst>
        </pc:spChg>
        <pc:spChg chg="mod">
          <ac:chgData name="Ilana Ferreira" userId="ef46969b-0d75-4852-a2b0-2fc45c93ff40" providerId="ADAL" clId="{51252F1B-A6DA-4E8A-8911-9DB2571E7116}" dt="2023-08-29T21:52:54.189" v="1555" actId="1076"/>
          <ac:spMkLst>
            <pc:docMk/>
            <pc:sldMk cId="2639037071" sldId="259"/>
            <ac:spMk id="33" creationId="{4481A23C-FA78-FEAD-E050-AAE287EECF37}"/>
          </ac:spMkLst>
        </pc:spChg>
        <pc:spChg chg="mod">
          <ac:chgData name="Ilana Ferreira" userId="ef46969b-0d75-4852-a2b0-2fc45c93ff40" providerId="ADAL" clId="{51252F1B-A6DA-4E8A-8911-9DB2571E7116}" dt="2023-08-29T22:03:49.599" v="2005" actId="1076"/>
          <ac:spMkLst>
            <pc:docMk/>
            <pc:sldMk cId="2639037071" sldId="259"/>
            <ac:spMk id="34" creationId="{323A86EB-FD5C-F925-4954-5A4BA5A894B8}"/>
          </ac:spMkLst>
        </pc:spChg>
        <pc:spChg chg="add mod">
          <ac:chgData name="Ilana Ferreira" userId="ef46969b-0d75-4852-a2b0-2fc45c93ff40" providerId="ADAL" clId="{51252F1B-A6DA-4E8A-8911-9DB2571E7116}" dt="2023-08-29T21:38:22.037" v="1398"/>
          <ac:spMkLst>
            <pc:docMk/>
            <pc:sldMk cId="2639037071" sldId="259"/>
            <ac:spMk id="35" creationId="{B58DFB08-D7AE-67BA-7EC8-76B0CF85A900}"/>
          </ac:spMkLst>
        </pc:spChg>
        <pc:spChg chg="add mod">
          <ac:chgData name="Ilana Ferreira" userId="ef46969b-0d75-4852-a2b0-2fc45c93ff40" providerId="ADAL" clId="{51252F1B-A6DA-4E8A-8911-9DB2571E7116}" dt="2023-08-29T21:38:22.037" v="1398"/>
          <ac:spMkLst>
            <pc:docMk/>
            <pc:sldMk cId="2639037071" sldId="259"/>
            <ac:spMk id="37" creationId="{510B9A79-2165-52E0-A8DC-39F6189D0641}"/>
          </ac:spMkLst>
        </pc:spChg>
        <pc:spChg chg="mod">
          <ac:chgData name="Ilana Ferreira" userId="ef46969b-0d75-4852-a2b0-2fc45c93ff40" providerId="ADAL" clId="{51252F1B-A6DA-4E8A-8911-9DB2571E7116}" dt="2023-08-29T21:55:21.785" v="1697" actId="113"/>
          <ac:spMkLst>
            <pc:docMk/>
            <pc:sldMk cId="2639037071" sldId="259"/>
            <ac:spMk id="38" creationId="{4D294672-6A8C-0F2D-6699-88D07701BD96}"/>
          </ac:spMkLst>
        </pc:spChg>
        <pc:spChg chg="mod">
          <ac:chgData name="Ilana Ferreira" userId="ef46969b-0d75-4852-a2b0-2fc45c93ff40" providerId="ADAL" clId="{51252F1B-A6DA-4E8A-8911-9DB2571E7116}" dt="2023-08-29T21:38:45.089" v="1404" actId="120"/>
          <ac:spMkLst>
            <pc:docMk/>
            <pc:sldMk cId="2639037071" sldId="259"/>
            <ac:spMk id="39" creationId="{9F91A37E-E5EB-B205-A4B1-FA8E878FC6FA}"/>
          </ac:spMkLst>
        </pc:spChg>
        <pc:spChg chg="mod">
          <ac:chgData name="Ilana Ferreira" userId="ef46969b-0d75-4852-a2b0-2fc45c93ff40" providerId="ADAL" clId="{51252F1B-A6DA-4E8A-8911-9DB2571E7116}" dt="2023-08-29T22:03:19.249" v="1995" actId="1076"/>
          <ac:spMkLst>
            <pc:docMk/>
            <pc:sldMk cId="2639037071" sldId="259"/>
            <ac:spMk id="40" creationId="{B4DE373D-FDC1-B646-E5DC-0DB9FF9D7EF4}"/>
          </ac:spMkLst>
        </pc:spChg>
        <pc:spChg chg="mod">
          <ac:chgData name="Ilana Ferreira" userId="ef46969b-0d75-4852-a2b0-2fc45c93ff40" providerId="ADAL" clId="{51252F1B-A6DA-4E8A-8911-9DB2571E7116}" dt="2023-08-29T22:03:42.306" v="2000" actId="1076"/>
          <ac:spMkLst>
            <pc:docMk/>
            <pc:sldMk cId="2639037071" sldId="259"/>
            <ac:spMk id="41" creationId="{06272426-EF99-D333-500A-AA0FED6703F2}"/>
          </ac:spMkLst>
        </pc:spChg>
        <pc:spChg chg="add mod">
          <ac:chgData name="Ilana Ferreira" userId="ef46969b-0d75-4852-a2b0-2fc45c93ff40" providerId="ADAL" clId="{51252F1B-A6DA-4E8A-8911-9DB2571E7116}" dt="2023-08-29T21:38:22.037" v="1398"/>
          <ac:spMkLst>
            <pc:docMk/>
            <pc:sldMk cId="2639037071" sldId="259"/>
            <ac:spMk id="45" creationId="{67D56C1A-363E-82ED-3C22-D797BA7D9DA3}"/>
          </ac:spMkLst>
        </pc:spChg>
        <pc:spChg chg="add mod">
          <ac:chgData name="Ilana Ferreira" userId="ef46969b-0d75-4852-a2b0-2fc45c93ff40" providerId="ADAL" clId="{51252F1B-A6DA-4E8A-8911-9DB2571E7116}" dt="2023-08-29T21:42:53.366" v="1454" actId="571"/>
          <ac:spMkLst>
            <pc:docMk/>
            <pc:sldMk cId="2639037071" sldId="259"/>
            <ac:spMk id="46" creationId="{480888FA-C8D2-28E3-AF8A-5AB06A2DBC0B}"/>
          </ac:spMkLst>
        </pc:spChg>
        <pc:spChg chg="del">
          <ac:chgData name="Ilana Ferreira" userId="ef46969b-0d75-4852-a2b0-2fc45c93ff40" providerId="ADAL" clId="{51252F1B-A6DA-4E8A-8911-9DB2571E7116}" dt="2023-08-29T21:33:35.954" v="1305" actId="478"/>
          <ac:spMkLst>
            <pc:docMk/>
            <pc:sldMk cId="2639037071" sldId="259"/>
            <ac:spMk id="49" creationId="{B42E086B-0509-27E8-9AD6-EC3D2466BA04}"/>
          </ac:spMkLst>
        </pc:spChg>
        <pc:spChg chg="del">
          <ac:chgData name="Ilana Ferreira" userId="ef46969b-0d75-4852-a2b0-2fc45c93ff40" providerId="ADAL" clId="{51252F1B-A6DA-4E8A-8911-9DB2571E7116}" dt="2023-08-29T21:33:35.954" v="1305" actId="478"/>
          <ac:spMkLst>
            <pc:docMk/>
            <pc:sldMk cId="2639037071" sldId="259"/>
            <ac:spMk id="50" creationId="{589EDE05-CBE1-F170-4C85-BF35817A0489}"/>
          </ac:spMkLst>
        </pc:spChg>
        <pc:spChg chg="del">
          <ac:chgData name="Ilana Ferreira" userId="ef46969b-0d75-4852-a2b0-2fc45c93ff40" providerId="ADAL" clId="{51252F1B-A6DA-4E8A-8911-9DB2571E7116}" dt="2023-08-29T21:33:35.954" v="1305" actId="478"/>
          <ac:spMkLst>
            <pc:docMk/>
            <pc:sldMk cId="2639037071" sldId="259"/>
            <ac:spMk id="51" creationId="{BECB022D-669A-E556-FE30-F9CFC116DC7E}"/>
          </ac:spMkLst>
        </pc:spChg>
        <pc:spChg chg="mod">
          <ac:chgData name="Ilana Ferreira" userId="ef46969b-0d75-4852-a2b0-2fc45c93ff40" providerId="ADAL" clId="{51252F1B-A6DA-4E8A-8911-9DB2571E7116}" dt="2023-08-29T21:42:53.366" v="1454" actId="571"/>
          <ac:spMkLst>
            <pc:docMk/>
            <pc:sldMk cId="2639037071" sldId="259"/>
            <ac:spMk id="53" creationId="{3BBC0A50-AE21-2FD3-CC4D-443CFF74DD17}"/>
          </ac:spMkLst>
        </pc:spChg>
        <pc:spChg chg="mod">
          <ac:chgData name="Ilana Ferreira" userId="ef46969b-0d75-4852-a2b0-2fc45c93ff40" providerId="ADAL" clId="{51252F1B-A6DA-4E8A-8911-9DB2571E7116}" dt="2023-08-29T21:42:53.366" v="1454" actId="571"/>
          <ac:spMkLst>
            <pc:docMk/>
            <pc:sldMk cId="2639037071" sldId="259"/>
            <ac:spMk id="55" creationId="{7D422460-DCA1-1A17-1E64-8B3F0FC202DA}"/>
          </ac:spMkLst>
        </pc:spChg>
        <pc:spChg chg="mod">
          <ac:chgData name="Ilana Ferreira" userId="ef46969b-0d75-4852-a2b0-2fc45c93ff40" providerId="ADAL" clId="{51252F1B-A6DA-4E8A-8911-9DB2571E7116}" dt="2023-08-29T21:42:53.366" v="1454" actId="571"/>
          <ac:spMkLst>
            <pc:docMk/>
            <pc:sldMk cId="2639037071" sldId="259"/>
            <ac:spMk id="56" creationId="{F2228979-1EEF-AFBA-7AA8-BEC52749D82A}"/>
          </ac:spMkLst>
        </pc:spChg>
        <pc:spChg chg="mod">
          <ac:chgData name="Ilana Ferreira" userId="ef46969b-0d75-4852-a2b0-2fc45c93ff40" providerId="ADAL" clId="{51252F1B-A6DA-4E8A-8911-9DB2571E7116}" dt="2023-08-29T21:42:53.366" v="1454" actId="571"/>
          <ac:spMkLst>
            <pc:docMk/>
            <pc:sldMk cId="2639037071" sldId="259"/>
            <ac:spMk id="57" creationId="{DD214F05-FE6E-0EF2-8801-E29AB77F6215}"/>
          </ac:spMkLst>
        </pc:spChg>
        <pc:spChg chg="mod">
          <ac:chgData name="Ilana Ferreira" userId="ef46969b-0d75-4852-a2b0-2fc45c93ff40" providerId="ADAL" clId="{51252F1B-A6DA-4E8A-8911-9DB2571E7116}" dt="2023-08-29T21:47:13.271" v="1462"/>
          <ac:spMkLst>
            <pc:docMk/>
            <pc:sldMk cId="2639037071" sldId="259"/>
            <ac:spMk id="62" creationId="{D865074F-82F6-C7F8-844B-74078978B811}"/>
          </ac:spMkLst>
        </pc:spChg>
        <pc:spChg chg="mod">
          <ac:chgData name="Ilana Ferreira" userId="ef46969b-0d75-4852-a2b0-2fc45c93ff40" providerId="ADAL" clId="{51252F1B-A6DA-4E8A-8911-9DB2571E7116}" dt="2023-08-29T21:48:07.343" v="1516"/>
          <ac:spMkLst>
            <pc:docMk/>
            <pc:sldMk cId="2639037071" sldId="259"/>
            <ac:spMk id="63" creationId="{E36DD3C2-BCC6-C444-9DC7-8A6875F25BD5}"/>
          </ac:spMkLst>
        </pc:spChg>
        <pc:spChg chg="mod">
          <ac:chgData name="Ilana Ferreira" userId="ef46969b-0d75-4852-a2b0-2fc45c93ff40" providerId="ADAL" clId="{51252F1B-A6DA-4E8A-8911-9DB2571E7116}" dt="2023-08-29T21:47:23.386" v="1481" actId="20577"/>
          <ac:spMkLst>
            <pc:docMk/>
            <pc:sldMk cId="2639037071" sldId="259"/>
            <ac:spMk id="64" creationId="{0A97E38F-23BE-F603-53B2-93977077102F}"/>
          </ac:spMkLst>
        </pc:spChg>
        <pc:spChg chg="mod">
          <ac:chgData name="Ilana Ferreira" userId="ef46969b-0d75-4852-a2b0-2fc45c93ff40" providerId="ADAL" clId="{51252F1B-A6DA-4E8A-8911-9DB2571E7116}" dt="2023-08-29T21:47:13.271" v="1462"/>
          <ac:spMkLst>
            <pc:docMk/>
            <pc:sldMk cId="2639037071" sldId="259"/>
            <ac:spMk id="65" creationId="{0BA5466E-2493-09A7-4346-A3E7B0A1A7D5}"/>
          </ac:spMkLst>
        </pc:spChg>
        <pc:spChg chg="mod">
          <ac:chgData name="Ilana Ferreira" userId="ef46969b-0d75-4852-a2b0-2fc45c93ff40" providerId="ADAL" clId="{51252F1B-A6DA-4E8A-8911-9DB2571E7116}" dt="2023-08-29T21:47:13.271" v="1462"/>
          <ac:spMkLst>
            <pc:docMk/>
            <pc:sldMk cId="2639037071" sldId="259"/>
            <ac:spMk id="66" creationId="{F7F24DB2-C642-D692-E79F-4F4632339518}"/>
          </ac:spMkLst>
        </pc:spChg>
        <pc:spChg chg="mod">
          <ac:chgData name="Ilana Ferreira" userId="ef46969b-0d75-4852-a2b0-2fc45c93ff40" providerId="ADAL" clId="{51252F1B-A6DA-4E8A-8911-9DB2571E7116}" dt="2023-08-29T21:47:45.033" v="1512"/>
          <ac:spMkLst>
            <pc:docMk/>
            <pc:sldMk cId="2639037071" sldId="259"/>
            <ac:spMk id="69" creationId="{1543C1B8-386D-8F35-FE86-7491C09D1E92}"/>
          </ac:spMkLst>
        </pc:spChg>
        <pc:spChg chg="mod">
          <ac:chgData name="Ilana Ferreira" userId="ef46969b-0d75-4852-a2b0-2fc45c93ff40" providerId="ADAL" clId="{51252F1B-A6DA-4E8A-8911-9DB2571E7116}" dt="2023-08-29T21:47:45.033" v="1512"/>
          <ac:spMkLst>
            <pc:docMk/>
            <pc:sldMk cId="2639037071" sldId="259"/>
            <ac:spMk id="70" creationId="{265DDACA-F6D7-1A28-4B68-08EB34DB9D61}"/>
          </ac:spMkLst>
        </pc:spChg>
        <pc:spChg chg="mod">
          <ac:chgData name="Ilana Ferreira" userId="ef46969b-0d75-4852-a2b0-2fc45c93ff40" providerId="ADAL" clId="{51252F1B-A6DA-4E8A-8911-9DB2571E7116}" dt="2023-08-29T21:47:45.033" v="1512"/>
          <ac:spMkLst>
            <pc:docMk/>
            <pc:sldMk cId="2639037071" sldId="259"/>
            <ac:spMk id="71" creationId="{61D9D79B-D9C0-5EF3-7C04-64095397B841}"/>
          </ac:spMkLst>
        </pc:spChg>
        <pc:spChg chg="mod">
          <ac:chgData name="Ilana Ferreira" userId="ef46969b-0d75-4852-a2b0-2fc45c93ff40" providerId="ADAL" clId="{51252F1B-A6DA-4E8A-8911-9DB2571E7116}" dt="2023-08-29T21:47:45.033" v="1512"/>
          <ac:spMkLst>
            <pc:docMk/>
            <pc:sldMk cId="2639037071" sldId="259"/>
            <ac:spMk id="72" creationId="{75E842E9-1C69-62D1-B8A2-3FB29F637E04}"/>
          </ac:spMkLst>
        </pc:spChg>
        <pc:spChg chg="mod">
          <ac:chgData name="Ilana Ferreira" userId="ef46969b-0d75-4852-a2b0-2fc45c93ff40" providerId="ADAL" clId="{51252F1B-A6DA-4E8A-8911-9DB2571E7116}" dt="2023-08-29T21:47:45.033" v="1512"/>
          <ac:spMkLst>
            <pc:docMk/>
            <pc:sldMk cId="2639037071" sldId="259"/>
            <ac:spMk id="73" creationId="{7D24D71E-8020-6DD0-9404-5A5DE714B397}"/>
          </ac:spMkLst>
        </pc:spChg>
        <pc:spChg chg="add mod">
          <ac:chgData name="Ilana Ferreira" userId="ef46969b-0d75-4852-a2b0-2fc45c93ff40" providerId="ADAL" clId="{51252F1B-A6DA-4E8A-8911-9DB2571E7116}" dt="2023-08-29T22:01:11.941" v="1963" actId="1076"/>
          <ac:spMkLst>
            <pc:docMk/>
            <pc:sldMk cId="2639037071" sldId="259"/>
            <ac:spMk id="75" creationId="{F28316A4-1AA7-356D-9830-38E1383715BF}"/>
          </ac:spMkLst>
        </pc:spChg>
        <pc:grpChg chg="mod">
          <ac:chgData name="Ilana Ferreira" userId="ef46969b-0d75-4852-a2b0-2fc45c93ff40" providerId="ADAL" clId="{51252F1B-A6DA-4E8A-8911-9DB2571E7116}" dt="2023-08-29T21:43:01.978" v="1455" actId="164"/>
          <ac:grpSpMkLst>
            <pc:docMk/>
            <pc:sldMk cId="2639037071" sldId="259"/>
            <ac:grpSpMk id="43" creationId="{AA5B0C9C-CAC4-C0A1-A9C1-9E06D7F0BDDD}"/>
          </ac:grpSpMkLst>
        </pc:grpChg>
        <pc:grpChg chg="mod">
          <ac:chgData name="Ilana Ferreira" userId="ef46969b-0d75-4852-a2b0-2fc45c93ff40" providerId="ADAL" clId="{51252F1B-A6DA-4E8A-8911-9DB2571E7116}" dt="2023-08-29T21:43:21.764" v="1459" actId="164"/>
          <ac:grpSpMkLst>
            <pc:docMk/>
            <pc:sldMk cId="2639037071" sldId="259"/>
            <ac:grpSpMk id="44" creationId="{674FB50F-23C6-DFAC-A01A-CCFF6A893012}"/>
          </ac:grpSpMkLst>
        </pc:grpChg>
        <pc:grpChg chg="add mod">
          <ac:chgData name="Ilana Ferreira" userId="ef46969b-0d75-4852-a2b0-2fc45c93ff40" providerId="ADAL" clId="{51252F1B-A6DA-4E8A-8911-9DB2571E7116}" dt="2023-08-29T21:42:53.366" v="1454" actId="571"/>
          <ac:grpSpMkLst>
            <pc:docMk/>
            <pc:sldMk cId="2639037071" sldId="259"/>
            <ac:grpSpMk id="47" creationId="{E1D0A2A0-9570-8679-DB52-B9264741D740}"/>
          </ac:grpSpMkLst>
        </pc:grpChg>
        <pc:grpChg chg="del">
          <ac:chgData name="Ilana Ferreira" userId="ef46969b-0d75-4852-a2b0-2fc45c93ff40" providerId="ADAL" clId="{51252F1B-A6DA-4E8A-8911-9DB2571E7116}" dt="2023-08-29T21:37:37.677" v="1392" actId="478"/>
          <ac:grpSpMkLst>
            <pc:docMk/>
            <pc:sldMk cId="2639037071" sldId="259"/>
            <ac:grpSpMk id="48" creationId="{AD83C4C0-7A78-5812-F883-E68CDE87C033}"/>
          </ac:grpSpMkLst>
        </pc:grpChg>
        <pc:grpChg chg="add mod">
          <ac:chgData name="Ilana Ferreira" userId="ef46969b-0d75-4852-a2b0-2fc45c93ff40" providerId="ADAL" clId="{51252F1B-A6DA-4E8A-8911-9DB2571E7116}" dt="2023-08-29T21:56:28.710" v="1699" actId="1076"/>
          <ac:grpSpMkLst>
            <pc:docMk/>
            <pc:sldMk cId="2639037071" sldId="259"/>
            <ac:grpSpMk id="58" creationId="{F12BDCC4-63F3-51C5-911B-071AF9386108}"/>
          </ac:grpSpMkLst>
        </pc:grpChg>
        <pc:grpChg chg="add del mod">
          <ac:chgData name="Ilana Ferreira" userId="ef46969b-0d75-4852-a2b0-2fc45c93ff40" providerId="ADAL" clId="{51252F1B-A6DA-4E8A-8911-9DB2571E7116}" dt="2023-08-29T21:48:41.161" v="1528" actId="14100"/>
          <ac:grpSpMkLst>
            <pc:docMk/>
            <pc:sldMk cId="2639037071" sldId="259"/>
            <ac:grpSpMk id="59" creationId="{7BA43B0A-2E16-7E28-1E17-33BDD266E452}"/>
          </ac:grpSpMkLst>
        </pc:grpChg>
        <pc:grpChg chg="add del mod">
          <ac:chgData name="Ilana Ferreira" userId="ef46969b-0d75-4852-a2b0-2fc45c93ff40" providerId="ADAL" clId="{51252F1B-A6DA-4E8A-8911-9DB2571E7116}" dt="2023-08-29T21:49:07.398" v="1533" actId="478"/>
          <ac:grpSpMkLst>
            <pc:docMk/>
            <pc:sldMk cId="2639037071" sldId="259"/>
            <ac:grpSpMk id="60" creationId="{0D188C4B-235D-1092-019F-C8D45B291D9F}"/>
          </ac:grpSpMkLst>
        </pc:grpChg>
        <pc:grpChg chg="mod">
          <ac:chgData name="Ilana Ferreira" userId="ef46969b-0d75-4852-a2b0-2fc45c93ff40" providerId="ADAL" clId="{51252F1B-A6DA-4E8A-8911-9DB2571E7116}" dt="2023-08-29T21:47:13.271" v="1462"/>
          <ac:grpSpMkLst>
            <pc:docMk/>
            <pc:sldMk cId="2639037071" sldId="259"/>
            <ac:grpSpMk id="61" creationId="{6D6E59FC-02D8-AB23-ADE8-C1E263ECC2EC}"/>
          </ac:grpSpMkLst>
        </pc:grpChg>
        <pc:grpChg chg="add del mod">
          <ac:chgData name="Ilana Ferreira" userId="ef46969b-0d75-4852-a2b0-2fc45c93ff40" providerId="ADAL" clId="{51252F1B-A6DA-4E8A-8911-9DB2571E7116}" dt="2023-08-29T21:47:49.187" v="1515"/>
          <ac:grpSpMkLst>
            <pc:docMk/>
            <pc:sldMk cId="2639037071" sldId="259"/>
            <ac:grpSpMk id="67" creationId="{387242B3-F62D-382B-8368-FC92D4A226D9}"/>
          </ac:grpSpMkLst>
        </pc:grpChg>
        <pc:grpChg chg="mod">
          <ac:chgData name="Ilana Ferreira" userId="ef46969b-0d75-4852-a2b0-2fc45c93ff40" providerId="ADAL" clId="{51252F1B-A6DA-4E8A-8911-9DB2571E7116}" dt="2023-08-29T21:47:45.033" v="1512"/>
          <ac:grpSpMkLst>
            <pc:docMk/>
            <pc:sldMk cId="2639037071" sldId="259"/>
            <ac:grpSpMk id="68" creationId="{8E1374FB-F33A-683B-E0B9-7925537C6622}"/>
          </ac:grpSpMkLst>
        </pc:grpChg>
        <pc:picChg chg="add del mod">
          <ac:chgData name="Ilana Ferreira" userId="ef46969b-0d75-4852-a2b0-2fc45c93ff40" providerId="ADAL" clId="{51252F1B-A6DA-4E8A-8911-9DB2571E7116}" dt="2023-08-29T21:37:27.933" v="1389"/>
          <ac:picMkLst>
            <pc:docMk/>
            <pc:sldMk cId="2639037071" sldId="259"/>
            <ac:picMk id="3" creationId="{60CAC135-D27D-4F9D-C5C8-05E6B5F32EB4}"/>
          </ac:picMkLst>
        </pc:picChg>
        <pc:picChg chg="add del mod">
          <ac:chgData name="Ilana Ferreira" userId="ef46969b-0d75-4852-a2b0-2fc45c93ff40" providerId="ADAL" clId="{51252F1B-A6DA-4E8A-8911-9DB2571E7116}" dt="2023-08-29T21:38:12.170" v="1396"/>
          <ac:picMkLst>
            <pc:docMk/>
            <pc:sldMk cId="2639037071" sldId="259"/>
            <ac:picMk id="15" creationId="{30D6A8DE-7CD7-154C-15FD-BF8E46D706CF}"/>
          </ac:picMkLst>
        </pc:picChg>
        <pc:picChg chg="add mod">
          <ac:chgData name="Ilana Ferreira" userId="ef46969b-0d75-4852-a2b0-2fc45c93ff40" providerId="ADAL" clId="{51252F1B-A6DA-4E8A-8911-9DB2571E7116}" dt="2023-08-29T21:38:22.037" v="1398"/>
          <ac:picMkLst>
            <pc:docMk/>
            <pc:sldMk cId="2639037071" sldId="259"/>
            <ac:picMk id="27" creationId="{9A21F574-E268-4A2B-D3F6-FEAFBD45C994}"/>
          </ac:picMkLst>
        </pc:picChg>
        <pc:picChg chg="del">
          <ac:chgData name="Ilana Ferreira" userId="ef46969b-0d75-4852-a2b0-2fc45c93ff40" providerId="ADAL" clId="{51252F1B-A6DA-4E8A-8911-9DB2571E7116}" dt="2023-08-29T21:33:18.789" v="1302" actId="478"/>
          <ac:picMkLst>
            <pc:docMk/>
            <pc:sldMk cId="2639037071" sldId="259"/>
            <ac:picMk id="52" creationId="{0615D6D5-78C9-9DA1-41DE-6003D587CC5A}"/>
          </ac:picMkLst>
        </pc:picChg>
        <pc:picChg chg="del">
          <ac:chgData name="Ilana Ferreira" userId="ef46969b-0d75-4852-a2b0-2fc45c93ff40" providerId="ADAL" clId="{51252F1B-A6DA-4E8A-8911-9DB2571E7116}" dt="2023-08-29T21:37:40.336" v="1393" actId="478"/>
          <ac:picMkLst>
            <pc:docMk/>
            <pc:sldMk cId="2639037071" sldId="259"/>
            <ac:picMk id="54" creationId="{C85EE443-4A44-050C-8C6C-8919B3EA3586}"/>
          </ac:picMkLst>
        </pc:picChg>
        <pc:picChg chg="add mod">
          <ac:chgData name="Ilana Ferreira" userId="ef46969b-0d75-4852-a2b0-2fc45c93ff40" providerId="ADAL" clId="{51252F1B-A6DA-4E8A-8911-9DB2571E7116}" dt="2023-08-29T21:57:07.228" v="1720" actId="1076"/>
          <ac:picMkLst>
            <pc:docMk/>
            <pc:sldMk cId="2639037071" sldId="259"/>
            <ac:picMk id="76" creationId="{22B0D35E-27E9-BC61-1657-DB3C28554866}"/>
          </ac:picMkLst>
        </pc:picChg>
        <pc:cxnChg chg="add del mod">
          <ac:chgData name="Ilana Ferreira" userId="ef46969b-0d75-4852-a2b0-2fc45c93ff40" providerId="ADAL" clId="{51252F1B-A6DA-4E8A-8911-9DB2571E7116}" dt="2023-08-29T21:37:27.933" v="1389"/>
          <ac:cxnSpMkLst>
            <pc:docMk/>
            <pc:sldMk cId="2639037071" sldId="259"/>
            <ac:cxnSpMk id="4" creationId="{A917C76A-4C01-724E-6DCC-200993372415}"/>
          </ac:cxnSpMkLst>
        </pc:cxnChg>
        <pc:cxnChg chg="add del mod">
          <ac:chgData name="Ilana Ferreira" userId="ef46969b-0d75-4852-a2b0-2fc45c93ff40" providerId="ADAL" clId="{51252F1B-A6DA-4E8A-8911-9DB2571E7116}" dt="2023-08-29T21:37:27.933" v="1389"/>
          <ac:cxnSpMkLst>
            <pc:docMk/>
            <pc:sldMk cId="2639037071" sldId="259"/>
            <ac:cxnSpMk id="5" creationId="{3D747640-AB54-4DB4-C1B8-AD33790B3F48}"/>
          </ac:cxnSpMkLst>
        </pc:cxnChg>
        <pc:cxnChg chg="add del mod">
          <ac:chgData name="Ilana Ferreira" userId="ef46969b-0d75-4852-a2b0-2fc45c93ff40" providerId="ADAL" clId="{51252F1B-A6DA-4E8A-8911-9DB2571E7116}" dt="2023-08-29T21:37:27.933" v="1389"/>
          <ac:cxnSpMkLst>
            <pc:docMk/>
            <pc:sldMk cId="2639037071" sldId="259"/>
            <ac:cxnSpMk id="6" creationId="{9274B71F-C3A7-2508-03B7-9B67794475A6}"/>
          </ac:cxnSpMkLst>
        </pc:cxnChg>
        <pc:cxnChg chg="add del mod">
          <ac:chgData name="Ilana Ferreira" userId="ef46969b-0d75-4852-a2b0-2fc45c93ff40" providerId="ADAL" clId="{51252F1B-A6DA-4E8A-8911-9DB2571E7116}" dt="2023-08-29T21:38:12.170" v="1396"/>
          <ac:cxnSpMkLst>
            <pc:docMk/>
            <pc:sldMk cId="2639037071" sldId="259"/>
            <ac:cxnSpMk id="16" creationId="{9C56C6BE-5577-6C36-9309-EFA7442C419C}"/>
          </ac:cxnSpMkLst>
        </pc:cxnChg>
        <pc:cxnChg chg="add del mod">
          <ac:chgData name="Ilana Ferreira" userId="ef46969b-0d75-4852-a2b0-2fc45c93ff40" providerId="ADAL" clId="{51252F1B-A6DA-4E8A-8911-9DB2571E7116}" dt="2023-08-29T21:38:12.170" v="1396"/>
          <ac:cxnSpMkLst>
            <pc:docMk/>
            <pc:sldMk cId="2639037071" sldId="259"/>
            <ac:cxnSpMk id="17" creationId="{714A4AE8-43B9-C174-AB8F-5E3BFBDF5849}"/>
          </ac:cxnSpMkLst>
        </pc:cxnChg>
        <pc:cxnChg chg="add del mod">
          <ac:chgData name="Ilana Ferreira" userId="ef46969b-0d75-4852-a2b0-2fc45c93ff40" providerId="ADAL" clId="{51252F1B-A6DA-4E8A-8911-9DB2571E7116}" dt="2023-08-29T21:38:12.170" v="1396"/>
          <ac:cxnSpMkLst>
            <pc:docMk/>
            <pc:sldMk cId="2639037071" sldId="259"/>
            <ac:cxnSpMk id="18" creationId="{9C6AB5CD-2BB8-0B16-7A01-CF91782C7FA3}"/>
          </ac:cxnSpMkLst>
        </pc:cxnChg>
        <pc:cxnChg chg="add mod">
          <ac:chgData name="Ilana Ferreira" userId="ef46969b-0d75-4852-a2b0-2fc45c93ff40" providerId="ADAL" clId="{51252F1B-A6DA-4E8A-8911-9DB2571E7116}" dt="2023-08-29T21:38:22.037" v="1398"/>
          <ac:cxnSpMkLst>
            <pc:docMk/>
            <pc:sldMk cId="2639037071" sldId="259"/>
            <ac:cxnSpMk id="28" creationId="{ED8E2DC6-8AA9-8452-A52A-DF7E903CD249}"/>
          </ac:cxnSpMkLst>
        </pc:cxnChg>
        <pc:cxnChg chg="add mod">
          <ac:chgData name="Ilana Ferreira" userId="ef46969b-0d75-4852-a2b0-2fc45c93ff40" providerId="ADAL" clId="{51252F1B-A6DA-4E8A-8911-9DB2571E7116}" dt="2023-08-29T21:38:22.037" v="1398"/>
          <ac:cxnSpMkLst>
            <pc:docMk/>
            <pc:sldMk cId="2639037071" sldId="259"/>
            <ac:cxnSpMk id="29" creationId="{1F3CAC54-3227-91D1-DD0E-30389CB76A0E}"/>
          </ac:cxnSpMkLst>
        </pc:cxnChg>
        <pc:cxnChg chg="add mod">
          <ac:chgData name="Ilana Ferreira" userId="ef46969b-0d75-4852-a2b0-2fc45c93ff40" providerId="ADAL" clId="{51252F1B-A6DA-4E8A-8911-9DB2571E7116}" dt="2023-08-29T21:38:22.037" v="1398"/>
          <ac:cxnSpMkLst>
            <pc:docMk/>
            <pc:sldMk cId="2639037071" sldId="259"/>
            <ac:cxnSpMk id="30" creationId="{0EE045C3-9CC1-5F07-018C-1D153C902628}"/>
          </ac:cxnSpMkLst>
        </pc:cxnChg>
        <pc:cxnChg chg="mod">
          <ac:chgData name="Ilana Ferreira" userId="ef46969b-0d75-4852-a2b0-2fc45c93ff40" providerId="ADAL" clId="{51252F1B-A6DA-4E8A-8911-9DB2571E7116}" dt="2023-08-29T21:50:19.836" v="1543" actId="14100"/>
          <ac:cxnSpMkLst>
            <pc:docMk/>
            <pc:sldMk cId="2639037071" sldId="259"/>
            <ac:cxnSpMk id="36" creationId="{EE88D618-62C1-A5A6-B3D9-46FE396250DC}"/>
          </ac:cxnSpMkLst>
        </pc:cxnChg>
        <pc:cxnChg chg="del">
          <ac:chgData name="Ilana Ferreira" userId="ef46969b-0d75-4852-a2b0-2fc45c93ff40" providerId="ADAL" clId="{51252F1B-A6DA-4E8A-8911-9DB2571E7116}" dt="2023-08-29T21:37:37.677" v="1392" actId="478"/>
          <ac:cxnSpMkLst>
            <pc:docMk/>
            <pc:sldMk cId="2639037071" sldId="259"/>
            <ac:cxnSpMk id="42" creationId="{D5BD1F3A-A7DB-7C97-203E-A4F50D5CAA2E}"/>
          </ac:cxnSpMkLst>
        </pc:cxnChg>
      </pc:sldChg>
      <pc:sldChg chg="addSp delSp modSp add mod ord">
        <pc:chgData name="Ilana Ferreira" userId="ef46969b-0d75-4852-a2b0-2fc45c93ff40" providerId="ADAL" clId="{51252F1B-A6DA-4E8A-8911-9DB2571E7116}" dt="2023-08-30T15:24:57.709" v="2480" actId="115"/>
        <pc:sldMkLst>
          <pc:docMk/>
          <pc:sldMk cId="3125512719" sldId="260"/>
        </pc:sldMkLst>
        <pc:spChg chg="del">
          <ac:chgData name="Ilana Ferreira" userId="ef46969b-0d75-4852-a2b0-2fc45c93ff40" providerId="ADAL" clId="{51252F1B-A6DA-4E8A-8911-9DB2571E7116}" dt="2023-08-29T21:10:12.227" v="557" actId="478"/>
          <ac:spMkLst>
            <pc:docMk/>
            <pc:sldMk cId="3125512719" sldId="260"/>
            <ac:spMk id="3" creationId="{725D61D9-43E2-7E55-86A9-544C83D3FA39}"/>
          </ac:spMkLst>
        </pc:spChg>
        <pc:spChg chg="add del mod">
          <ac:chgData name="Ilana Ferreira" userId="ef46969b-0d75-4852-a2b0-2fc45c93ff40" providerId="ADAL" clId="{51252F1B-A6DA-4E8A-8911-9DB2571E7116}" dt="2023-08-29T21:09:24.144" v="541" actId="478"/>
          <ac:spMkLst>
            <pc:docMk/>
            <pc:sldMk cId="3125512719" sldId="260"/>
            <ac:spMk id="4" creationId="{1735A316-A706-4AC4-F2F6-8F4FF806774E}"/>
          </ac:spMkLst>
        </pc:spChg>
        <pc:spChg chg="del">
          <ac:chgData name="Ilana Ferreira" userId="ef46969b-0d75-4852-a2b0-2fc45c93ff40" providerId="ADAL" clId="{51252F1B-A6DA-4E8A-8911-9DB2571E7116}" dt="2023-08-29T21:05:31.028" v="521" actId="478"/>
          <ac:spMkLst>
            <pc:docMk/>
            <pc:sldMk cId="3125512719" sldId="260"/>
            <ac:spMk id="15" creationId="{17895AE8-48D9-DED0-875D-42E8717A586F}"/>
          </ac:spMkLst>
        </pc:spChg>
        <pc:spChg chg="mod">
          <ac:chgData name="Ilana Ferreira" userId="ef46969b-0d75-4852-a2b0-2fc45c93ff40" providerId="ADAL" clId="{51252F1B-A6DA-4E8A-8911-9DB2571E7116}" dt="2023-08-30T15:24:39.088" v="2477" actId="113"/>
          <ac:spMkLst>
            <pc:docMk/>
            <pc:sldMk cId="3125512719" sldId="260"/>
            <ac:spMk id="17" creationId="{9F56BEC4-F5DD-0E0A-29DD-ACAFB7D9E2F9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20" creationId="{7264C088-9DAF-6261-F978-51FAF149C328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21" creationId="{7BCC1B49-D6D1-7CBE-AA7C-6C29D2AD3BF9}"/>
          </ac:spMkLst>
        </pc:spChg>
        <pc:spChg chg="mod">
          <ac:chgData name="Ilana Ferreira" userId="ef46969b-0d75-4852-a2b0-2fc45c93ff40" providerId="ADAL" clId="{51252F1B-A6DA-4E8A-8911-9DB2571E7116}" dt="2023-08-29T21:06:15.535" v="525" actId="120"/>
          <ac:spMkLst>
            <pc:docMk/>
            <pc:sldMk cId="3125512719" sldId="260"/>
            <ac:spMk id="22" creationId="{B3E161EF-8694-A1BD-2FFF-B3788D97C915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23" creationId="{F247EFAF-36A3-A893-8FE4-8D8B482F062B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24" creationId="{4A2CDD3F-52CA-34FC-930B-C7F6AA8DCC76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25" creationId="{14CC7254-19D1-58D2-51FD-34E8E10FB9AD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27" creationId="{2DF54D69-0D5F-C8FD-99C4-556FA156E487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5" creationId="{39552E46-D685-739E-F5C0-F39A5808A778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57" creationId="{9C46926F-677D-CDC1-2A82-FBED5AFCDB8A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78" creationId="{D45A6CD2-6AEF-0691-A10C-5552B8C0E625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80" creationId="{F474BA86-BF9C-C229-F934-D1D79CDDCD73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82" creationId="{3F94FF31-88AE-ADA9-E363-3255A34E097F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83" creationId="{948A0AE1-6C85-9C01-97C7-2067E61338A0}"/>
          </ac:spMkLst>
        </pc:spChg>
        <pc:spChg chg="mod">
          <ac:chgData name="Ilana Ferreira" userId="ef46969b-0d75-4852-a2b0-2fc45c93ff40" providerId="ADAL" clId="{51252F1B-A6DA-4E8A-8911-9DB2571E7116}" dt="2023-08-30T15:24:57.709" v="2480" actId="115"/>
          <ac:spMkLst>
            <pc:docMk/>
            <pc:sldMk cId="3125512719" sldId="260"/>
            <ac:spMk id="3087" creationId="{600C7D37-E7DA-8765-7AFE-9736C4FC047E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94" creationId="{8D2C8113-555B-C140-F227-B3CBBDDBA889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95" creationId="{A7082790-D107-37A5-41F6-D547AF8D5105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096" creationId="{41831F3E-ACB7-3F2F-663E-35058C71592C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103" creationId="{F304CF57-0CA0-8F99-47D0-8EB829C42C20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108" creationId="{1EF59B84-0D9B-1816-6F94-26F1AE7D6E20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109" creationId="{C43106C4-5388-D1E5-A67B-48721E718328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111" creationId="{3C086F26-DE23-BDE6-9E03-2C7FF239160B}"/>
          </ac:spMkLst>
        </pc:spChg>
        <pc:spChg chg="del mod">
          <ac:chgData name="Ilana Ferreira" userId="ef46969b-0d75-4852-a2b0-2fc45c93ff40" providerId="ADAL" clId="{51252F1B-A6DA-4E8A-8911-9DB2571E7116}" dt="2023-08-30T14:58:50.398" v="2065" actId="478"/>
          <ac:spMkLst>
            <pc:docMk/>
            <pc:sldMk cId="3125512719" sldId="260"/>
            <ac:spMk id="3113" creationId="{A7BCAD41-D7FA-32A4-07DE-65E2E1ABFEEF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115" creationId="{4A9ADC9D-587B-8D1A-69D4-A2924F902721}"/>
          </ac:spMkLst>
        </pc:spChg>
        <pc:spChg chg="mod">
          <ac:chgData name="Ilana Ferreira" userId="ef46969b-0d75-4852-a2b0-2fc45c93ff40" providerId="ADAL" clId="{51252F1B-A6DA-4E8A-8911-9DB2571E7116}" dt="2023-08-30T15:06:43.629" v="2383" actId="1036"/>
          <ac:spMkLst>
            <pc:docMk/>
            <pc:sldMk cId="3125512719" sldId="260"/>
            <ac:spMk id="3116" creationId="{D2220F80-1581-F52D-31A7-4BB7C9F85782}"/>
          </ac:spMkLst>
        </pc:spChg>
        <pc:spChg chg="mod">
          <ac:chgData name="Ilana Ferreira" userId="ef46969b-0d75-4852-a2b0-2fc45c93ff40" providerId="ADAL" clId="{51252F1B-A6DA-4E8A-8911-9DB2571E7116}" dt="2023-08-30T15:07:16.984" v="2422" actId="1038"/>
          <ac:spMkLst>
            <pc:docMk/>
            <pc:sldMk cId="3125512719" sldId="260"/>
            <ac:spMk id="3117" creationId="{AEF8EFE9-452C-5DB6-CF77-2E7418FA407D}"/>
          </ac:spMkLst>
        </pc:spChg>
        <pc:spChg chg="mod">
          <ac:chgData name="Ilana Ferreira" userId="ef46969b-0d75-4852-a2b0-2fc45c93ff40" providerId="ADAL" clId="{51252F1B-A6DA-4E8A-8911-9DB2571E7116}" dt="2023-08-30T15:07:16.984" v="2422" actId="1038"/>
          <ac:spMkLst>
            <pc:docMk/>
            <pc:sldMk cId="3125512719" sldId="260"/>
            <ac:spMk id="3118" creationId="{90977EDA-546A-75A2-FE6B-30D36F4F23E9}"/>
          </ac:spMkLst>
        </pc:spChg>
        <pc:spChg chg="mod">
          <ac:chgData name="Ilana Ferreira" userId="ef46969b-0d75-4852-a2b0-2fc45c93ff40" providerId="ADAL" clId="{51252F1B-A6DA-4E8A-8911-9DB2571E7116}" dt="2023-08-30T15:07:16.984" v="2422" actId="1038"/>
          <ac:spMkLst>
            <pc:docMk/>
            <pc:sldMk cId="3125512719" sldId="260"/>
            <ac:spMk id="3119" creationId="{8CC1B27D-6BD8-AF25-CCF0-E2E31BA9C62C}"/>
          </ac:spMkLst>
        </pc:spChg>
        <pc:spChg chg="mod">
          <ac:chgData name="Ilana Ferreira" userId="ef46969b-0d75-4852-a2b0-2fc45c93ff40" providerId="ADAL" clId="{51252F1B-A6DA-4E8A-8911-9DB2571E7116}" dt="2023-08-30T15:07:16.984" v="2422" actId="1038"/>
          <ac:spMkLst>
            <pc:docMk/>
            <pc:sldMk cId="3125512719" sldId="260"/>
            <ac:spMk id="3120" creationId="{3AB4094A-AF80-792E-5E14-1C342F22F3F5}"/>
          </ac:spMkLst>
        </pc:spChg>
        <pc:spChg chg="del mod">
          <ac:chgData name="Ilana Ferreira" userId="ef46969b-0d75-4852-a2b0-2fc45c93ff40" providerId="ADAL" clId="{51252F1B-A6DA-4E8A-8911-9DB2571E7116}" dt="2023-08-30T14:58:50.398" v="2065" actId="478"/>
          <ac:spMkLst>
            <pc:docMk/>
            <pc:sldMk cId="3125512719" sldId="260"/>
            <ac:spMk id="3123" creationId="{911860D1-9EE8-E060-F435-CE87F826E594}"/>
          </ac:spMkLst>
        </pc:spChg>
        <pc:spChg chg="del mod">
          <ac:chgData name="Ilana Ferreira" userId="ef46969b-0d75-4852-a2b0-2fc45c93ff40" providerId="ADAL" clId="{51252F1B-A6DA-4E8A-8911-9DB2571E7116}" dt="2023-08-30T14:58:52.445" v="2067" actId="478"/>
          <ac:spMkLst>
            <pc:docMk/>
            <pc:sldMk cId="3125512719" sldId="260"/>
            <ac:spMk id="3128" creationId="{6231432C-94AA-8896-2AA4-A20049569A21}"/>
          </ac:spMkLst>
        </pc:spChg>
        <pc:spChg chg="del mod">
          <ac:chgData name="Ilana Ferreira" userId="ef46969b-0d75-4852-a2b0-2fc45c93ff40" providerId="ADAL" clId="{51252F1B-A6DA-4E8A-8911-9DB2571E7116}" dt="2023-08-30T14:58:51.348" v="2066" actId="478"/>
          <ac:spMkLst>
            <pc:docMk/>
            <pc:sldMk cId="3125512719" sldId="260"/>
            <ac:spMk id="3130" creationId="{B093E67D-270F-6D4F-9572-9362DD704C5A}"/>
          </ac:spMkLst>
        </pc:spChg>
        <pc:grpChg chg="del">
          <ac:chgData name="Ilana Ferreira" userId="ef46969b-0d75-4852-a2b0-2fc45c93ff40" providerId="ADAL" clId="{51252F1B-A6DA-4E8A-8911-9DB2571E7116}" dt="2023-08-29T21:10:12.227" v="557" actId="478"/>
          <ac:grpSpMkLst>
            <pc:docMk/>
            <pc:sldMk cId="3125512719" sldId="260"/>
            <ac:grpSpMk id="3124" creationId="{B6754C22-0584-20CD-8481-AB0A7AD1BCBC}"/>
          </ac:grpSpMkLst>
        </pc:grpChg>
        <pc:grpChg chg="del">
          <ac:chgData name="Ilana Ferreira" userId="ef46969b-0d75-4852-a2b0-2fc45c93ff40" providerId="ADAL" clId="{51252F1B-A6DA-4E8A-8911-9DB2571E7116}" dt="2023-08-29T21:10:12.227" v="557" actId="478"/>
          <ac:grpSpMkLst>
            <pc:docMk/>
            <pc:sldMk cId="3125512719" sldId="260"/>
            <ac:grpSpMk id="3125" creationId="{B7B520DD-B67B-6E19-4A2A-5537224B6DF5}"/>
          </ac:grpSpMkLst>
        </pc:grpChg>
        <pc:picChg chg="mod">
          <ac:chgData name="Ilana Ferreira" userId="ef46969b-0d75-4852-a2b0-2fc45c93ff40" providerId="ADAL" clId="{51252F1B-A6DA-4E8A-8911-9DB2571E7116}" dt="2023-08-30T15:06:43.629" v="2383" actId="1036"/>
          <ac:picMkLst>
            <pc:docMk/>
            <pc:sldMk cId="3125512719" sldId="260"/>
            <ac:picMk id="26" creationId="{953ACE46-A231-E7F2-03EC-1884BB367801}"/>
          </ac:picMkLst>
        </pc:picChg>
        <pc:picChg chg="mod">
          <ac:chgData name="Ilana Ferreira" userId="ef46969b-0d75-4852-a2b0-2fc45c93ff40" providerId="ADAL" clId="{51252F1B-A6DA-4E8A-8911-9DB2571E7116}" dt="2023-08-30T15:06:43.629" v="2383" actId="1036"/>
          <ac:picMkLst>
            <pc:docMk/>
            <pc:sldMk cId="3125512719" sldId="260"/>
            <ac:picMk id="3100" creationId="{E56D0D1A-B00A-A94F-4498-C468F60635EE}"/>
          </ac:picMkLst>
        </pc:picChg>
        <pc:picChg chg="mod">
          <ac:chgData name="Ilana Ferreira" userId="ef46969b-0d75-4852-a2b0-2fc45c93ff40" providerId="ADAL" clId="{51252F1B-A6DA-4E8A-8911-9DB2571E7116}" dt="2023-08-30T15:06:43.629" v="2383" actId="1036"/>
          <ac:picMkLst>
            <pc:docMk/>
            <pc:sldMk cId="3125512719" sldId="260"/>
            <ac:picMk id="3101" creationId="{C9FF4F10-8ACB-C0EB-93DC-F16AAB190629}"/>
          </ac:picMkLst>
        </pc:picChg>
        <pc:picChg chg="mod">
          <ac:chgData name="Ilana Ferreira" userId="ef46969b-0d75-4852-a2b0-2fc45c93ff40" providerId="ADAL" clId="{51252F1B-A6DA-4E8A-8911-9DB2571E7116}" dt="2023-08-30T15:06:43.629" v="2383" actId="1036"/>
          <ac:picMkLst>
            <pc:docMk/>
            <pc:sldMk cId="3125512719" sldId="260"/>
            <ac:picMk id="3107" creationId="{C2527BE5-136B-B223-53BC-A50E63257232}"/>
          </ac:picMkLst>
        </pc:picChg>
        <pc:picChg chg="del">
          <ac:chgData name="Ilana Ferreira" userId="ef46969b-0d75-4852-a2b0-2fc45c93ff40" providerId="ADAL" clId="{51252F1B-A6DA-4E8A-8911-9DB2571E7116}" dt="2023-08-29T19:45:40.932" v="326" actId="478"/>
          <ac:picMkLst>
            <pc:docMk/>
            <pc:sldMk cId="3125512719" sldId="260"/>
            <ac:picMk id="3133" creationId="{18BD280C-9B2D-CE7E-9B7D-65CAB46E8052}"/>
          </ac:picMkLst>
        </pc:picChg>
        <pc:picChg chg="del">
          <ac:chgData name="Ilana Ferreira" userId="ef46969b-0d75-4852-a2b0-2fc45c93ff40" providerId="ADAL" clId="{51252F1B-A6DA-4E8A-8911-9DB2571E7116}" dt="2023-08-29T19:45:38.912" v="325" actId="478"/>
          <ac:picMkLst>
            <pc:docMk/>
            <pc:sldMk cId="3125512719" sldId="260"/>
            <ac:picMk id="3134" creationId="{6C4402FD-0397-8678-9596-CFA5A60EF5ED}"/>
          </ac:picMkLst>
        </pc:picChg>
      </pc:sldChg>
      <pc:sldChg chg="modSp mod">
        <pc:chgData name="Ilana Ferreira" userId="ef46969b-0d75-4852-a2b0-2fc45c93ff40" providerId="ADAL" clId="{51252F1B-A6DA-4E8A-8911-9DB2571E7116}" dt="2023-08-29T23:33:25.292" v="2006" actId="1076"/>
        <pc:sldMkLst>
          <pc:docMk/>
          <pc:sldMk cId="963482743" sldId="588"/>
        </pc:sldMkLst>
        <pc:picChg chg="mod">
          <ac:chgData name="Ilana Ferreira" userId="ef46969b-0d75-4852-a2b0-2fc45c93ff40" providerId="ADAL" clId="{51252F1B-A6DA-4E8A-8911-9DB2571E7116}" dt="2023-08-29T23:33:25.292" v="2006" actId="1076"/>
          <ac:picMkLst>
            <pc:docMk/>
            <pc:sldMk cId="963482743" sldId="588"/>
            <ac:picMk id="4" creationId="{50AC309F-B96F-4201-9F8C-FC66673A9DE2}"/>
          </ac:picMkLst>
        </pc:picChg>
      </pc:sldChg>
      <pc:sldChg chg="addSp delSp modSp add mod modShow">
        <pc:chgData name="Ilana Ferreira" userId="ef46969b-0d75-4852-a2b0-2fc45c93ff40" providerId="ADAL" clId="{51252F1B-A6DA-4E8A-8911-9DB2571E7116}" dt="2023-08-29T20:58:16.264" v="452" actId="207"/>
        <pc:sldMkLst>
          <pc:docMk/>
          <pc:sldMk cId="740371909" sldId="2407"/>
        </pc:sldMkLst>
        <pc:spChg chg="mod">
          <ac:chgData name="Ilana Ferreira" userId="ef46969b-0d75-4852-a2b0-2fc45c93ff40" providerId="ADAL" clId="{51252F1B-A6DA-4E8A-8911-9DB2571E7116}" dt="2023-08-29T19:22:38.542" v="285" actId="1036"/>
          <ac:spMkLst>
            <pc:docMk/>
            <pc:sldMk cId="740371909" sldId="2407"/>
            <ac:spMk id="5" creationId="{6975B86B-0371-90D5-7121-CAD177970D8D}"/>
          </ac:spMkLst>
        </pc:spChg>
        <pc:spChg chg="mod">
          <ac:chgData name="Ilana Ferreira" userId="ef46969b-0d75-4852-a2b0-2fc45c93ff40" providerId="ADAL" clId="{51252F1B-A6DA-4E8A-8911-9DB2571E7116}" dt="2023-08-29T20:58:16.264" v="452" actId="207"/>
          <ac:spMkLst>
            <pc:docMk/>
            <pc:sldMk cId="740371909" sldId="2407"/>
            <ac:spMk id="6" creationId="{65480DC8-E2E0-EF43-9F0E-4B96AD428586}"/>
          </ac:spMkLst>
        </pc:spChg>
        <pc:spChg chg="mod">
          <ac:chgData name="Ilana Ferreira" userId="ef46969b-0d75-4852-a2b0-2fc45c93ff40" providerId="ADAL" clId="{51252F1B-A6DA-4E8A-8911-9DB2571E7116}" dt="2023-08-29T19:22:38.542" v="285" actId="1036"/>
          <ac:spMkLst>
            <pc:docMk/>
            <pc:sldMk cId="740371909" sldId="2407"/>
            <ac:spMk id="7" creationId="{D38A7E12-95B6-27E0-52BB-258225289B9D}"/>
          </ac:spMkLst>
        </pc:spChg>
        <pc:spChg chg="mod">
          <ac:chgData name="Ilana Ferreira" userId="ef46969b-0d75-4852-a2b0-2fc45c93ff40" providerId="ADAL" clId="{51252F1B-A6DA-4E8A-8911-9DB2571E7116}" dt="2023-08-29T19:22:38.542" v="285" actId="1036"/>
          <ac:spMkLst>
            <pc:docMk/>
            <pc:sldMk cId="740371909" sldId="2407"/>
            <ac:spMk id="8" creationId="{93F82293-2BB5-063E-99A6-44AD1A48E5EC}"/>
          </ac:spMkLst>
        </pc:spChg>
        <pc:spChg chg="del mod topLvl">
          <ac:chgData name="Ilana Ferreira" userId="ef46969b-0d75-4852-a2b0-2fc45c93ff40" providerId="ADAL" clId="{51252F1B-A6DA-4E8A-8911-9DB2571E7116}" dt="2023-08-29T19:22:06.550" v="199" actId="478"/>
          <ac:spMkLst>
            <pc:docMk/>
            <pc:sldMk cId="740371909" sldId="2407"/>
            <ac:spMk id="11" creationId="{4132F965-EFB8-1AD8-D807-201D3C55A630}"/>
          </ac:spMkLst>
        </pc:spChg>
        <pc:spChg chg="mod">
          <ac:chgData name="Ilana Ferreira" userId="ef46969b-0d75-4852-a2b0-2fc45c93ff40" providerId="ADAL" clId="{51252F1B-A6DA-4E8A-8911-9DB2571E7116}" dt="2023-08-29T19:22:26.109" v="239" actId="1035"/>
          <ac:spMkLst>
            <pc:docMk/>
            <pc:sldMk cId="740371909" sldId="2407"/>
            <ac:spMk id="18" creationId="{A680E88F-DC17-4DD3-933F-BBC30AFA43B5}"/>
          </ac:spMkLst>
        </pc:spChg>
        <pc:grpChg chg="add del mod">
          <ac:chgData name="Ilana Ferreira" userId="ef46969b-0d75-4852-a2b0-2fc45c93ff40" providerId="ADAL" clId="{51252F1B-A6DA-4E8A-8911-9DB2571E7116}" dt="2023-08-29T19:22:06.550" v="199" actId="478"/>
          <ac:grpSpMkLst>
            <pc:docMk/>
            <pc:sldMk cId="740371909" sldId="2407"/>
            <ac:grpSpMk id="9" creationId="{6B22392E-71FD-9578-C662-90022F248993}"/>
          </ac:grpSpMkLst>
        </pc:grpChg>
        <pc:grpChg chg="mod">
          <ac:chgData name="Ilana Ferreira" userId="ef46969b-0d75-4852-a2b0-2fc45c93ff40" providerId="ADAL" clId="{51252F1B-A6DA-4E8A-8911-9DB2571E7116}" dt="2023-08-29T19:22:13.388" v="215" actId="1036"/>
          <ac:grpSpMkLst>
            <pc:docMk/>
            <pc:sldMk cId="740371909" sldId="2407"/>
            <ac:grpSpMk id="12" creationId="{129608E8-FE7A-F497-8CCB-22C401E70F89}"/>
          </ac:grpSpMkLst>
        </pc:grpChg>
        <pc:picChg chg="mod topLvl">
          <ac:chgData name="Ilana Ferreira" userId="ef46969b-0d75-4852-a2b0-2fc45c93ff40" providerId="ADAL" clId="{51252F1B-A6DA-4E8A-8911-9DB2571E7116}" dt="2023-08-29T19:22:26.109" v="239" actId="1035"/>
          <ac:picMkLst>
            <pc:docMk/>
            <pc:sldMk cId="740371909" sldId="2407"/>
            <ac:picMk id="10" creationId="{72D48FCA-812E-A75E-944F-2642D70FBA35}"/>
          </ac:picMkLst>
        </pc:picChg>
        <pc:picChg chg="add mod">
          <ac:chgData name="Ilana Ferreira" userId="ef46969b-0d75-4852-a2b0-2fc45c93ff40" providerId="ADAL" clId="{51252F1B-A6DA-4E8A-8911-9DB2571E7116}" dt="2023-08-29T19:22:02.383" v="198"/>
          <ac:picMkLst>
            <pc:docMk/>
            <pc:sldMk cId="740371909" sldId="2407"/>
            <ac:picMk id="13" creationId="{628DD2A8-96CC-D022-510D-2931503F9651}"/>
          </ac:picMkLst>
        </pc:picChg>
      </pc:sldChg>
      <pc:sldChg chg="del">
        <pc:chgData name="Ilana Ferreira" userId="ef46969b-0d75-4852-a2b0-2fc45c93ff40" providerId="ADAL" clId="{51252F1B-A6DA-4E8A-8911-9DB2571E7116}" dt="2023-08-29T19:24:44.985" v="301" actId="47"/>
        <pc:sldMkLst>
          <pc:docMk/>
          <pc:sldMk cId="1459449787" sldId="2550"/>
        </pc:sldMkLst>
      </pc:sldChg>
      <pc:sldChg chg="del">
        <pc:chgData name="Ilana Ferreira" userId="ef46969b-0d75-4852-a2b0-2fc45c93ff40" providerId="ADAL" clId="{51252F1B-A6DA-4E8A-8911-9DB2571E7116}" dt="2023-08-29T19:24:42.501" v="300" actId="47"/>
        <pc:sldMkLst>
          <pc:docMk/>
          <pc:sldMk cId="1950976640" sldId="2552"/>
        </pc:sldMkLst>
      </pc:sldChg>
      <pc:sldChg chg="addSp delSp modSp del mod">
        <pc:chgData name="Ilana Ferreira" userId="ef46969b-0d75-4852-a2b0-2fc45c93ff40" providerId="ADAL" clId="{51252F1B-A6DA-4E8A-8911-9DB2571E7116}" dt="2023-08-29T19:16:33.046" v="108" actId="47"/>
        <pc:sldMkLst>
          <pc:docMk/>
          <pc:sldMk cId="3010713868" sldId="2555"/>
        </pc:sldMkLst>
        <pc:spChg chg="mod">
          <ac:chgData name="Ilana Ferreira" userId="ef46969b-0d75-4852-a2b0-2fc45c93ff40" providerId="ADAL" clId="{51252F1B-A6DA-4E8A-8911-9DB2571E7116}" dt="2023-08-29T19:12:48.987" v="6" actId="1076"/>
          <ac:spMkLst>
            <pc:docMk/>
            <pc:sldMk cId="3010713868" sldId="2555"/>
            <ac:spMk id="3" creationId="{089376C1-A91E-2F4D-6305-599C785F45E6}"/>
          </ac:spMkLst>
        </pc:spChg>
        <pc:spChg chg="mod">
          <ac:chgData name="Ilana Ferreira" userId="ef46969b-0d75-4852-a2b0-2fc45c93ff40" providerId="ADAL" clId="{51252F1B-A6DA-4E8A-8911-9DB2571E7116}" dt="2023-08-29T19:12:47.214" v="5" actId="1076"/>
          <ac:spMkLst>
            <pc:docMk/>
            <pc:sldMk cId="3010713868" sldId="2555"/>
            <ac:spMk id="4" creationId="{BA66AED6-72BF-BC7E-C7E7-B313A214E969}"/>
          </ac:spMkLst>
        </pc:spChg>
        <pc:spChg chg="mod">
          <ac:chgData name="Ilana Ferreira" userId="ef46969b-0d75-4852-a2b0-2fc45c93ff40" providerId="ADAL" clId="{51252F1B-A6DA-4E8A-8911-9DB2571E7116}" dt="2023-08-29T19:13:59.929" v="16" actId="20577"/>
          <ac:spMkLst>
            <pc:docMk/>
            <pc:sldMk cId="3010713868" sldId="2555"/>
            <ac:spMk id="8" creationId="{39A65864-E11A-8103-EFA3-1E3DDD090C93}"/>
          </ac:spMkLst>
        </pc:spChg>
        <pc:spChg chg="add mod">
          <ac:chgData name="Ilana Ferreira" userId="ef46969b-0d75-4852-a2b0-2fc45c93ff40" providerId="ADAL" clId="{51252F1B-A6DA-4E8A-8911-9DB2571E7116}" dt="2023-08-29T19:14:22.608" v="52" actId="20577"/>
          <ac:spMkLst>
            <pc:docMk/>
            <pc:sldMk cId="3010713868" sldId="2555"/>
            <ac:spMk id="9" creationId="{0E57ED94-103E-A602-E695-9FF06B34414C}"/>
          </ac:spMkLst>
        </pc:spChg>
        <pc:picChg chg="del mod">
          <ac:chgData name="Ilana Ferreira" userId="ef46969b-0d75-4852-a2b0-2fc45c93ff40" providerId="ADAL" clId="{51252F1B-A6DA-4E8A-8911-9DB2571E7116}" dt="2023-08-29T19:12:43.985" v="4" actId="478"/>
          <ac:picMkLst>
            <pc:docMk/>
            <pc:sldMk cId="3010713868" sldId="2555"/>
            <ac:picMk id="5" creationId="{10587E35-ACB5-7F73-1BE0-59525833FB8A}"/>
          </ac:picMkLst>
        </pc:picChg>
        <pc:picChg chg="del mod">
          <ac:chgData name="Ilana Ferreira" userId="ef46969b-0d75-4852-a2b0-2fc45c93ff40" providerId="ADAL" clId="{51252F1B-A6DA-4E8A-8911-9DB2571E7116}" dt="2023-08-29T19:12:28.202" v="1" actId="478"/>
          <ac:picMkLst>
            <pc:docMk/>
            <pc:sldMk cId="3010713868" sldId="2555"/>
            <ac:picMk id="7" creationId="{D57453BF-FD97-5DA9-774A-57E96B08E8C6}"/>
          </ac:picMkLst>
        </pc:picChg>
      </pc:sldChg>
      <pc:sldChg chg="del">
        <pc:chgData name="Ilana Ferreira" userId="ef46969b-0d75-4852-a2b0-2fc45c93ff40" providerId="ADAL" clId="{51252F1B-A6DA-4E8A-8911-9DB2571E7116}" dt="2023-08-29T21:39:00.512" v="1410" actId="47"/>
        <pc:sldMkLst>
          <pc:docMk/>
          <pc:sldMk cId="3329584087" sldId="2556"/>
        </pc:sldMkLst>
      </pc:sldChg>
      <pc:sldChg chg="del">
        <pc:chgData name="Ilana Ferreira" userId="ef46969b-0d75-4852-a2b0-2fc45c93ff40" providerId="ADAL" clId="{51252F1B-A6DA-4E8A-8911-9DB2571E7116}" dt="2023-08-29T19:24:45.975" v="302" actId="47"/>
        <pc:sldMkLst>
          <pc:docMk/>
          <pc:sldMk cId="3402956258" sldId="2557"/>
        </pc:sldMkLst>
      </pc:sldChg>
      <pc:sldChg chg="add del">
        <pc:chgData name="Ilana Ferreira" userId="ef46969b-0d75-4852-a2b0-2fc45c93ff40" providerId="ADAL" clId="{51252F1B-A6DA-4E8A-8911-9DB2571E7116}" dt="2023-08-29T21:39:01.988" v="1412" actId="47"/>
        <pc:sldMkLst>
          <pc:docMk/>
          <pc:sldMk cId="3294816459" sldId="2561"/>
        </pc:sldMkLst>
      </pc:sldChg>
      <pc:sldChg chg="del">
        <pc:chgData name="Ilana Ferreira" userId="ef46969b-0d75-4852-a2b0-2fc45c93ff40" providerId="ADAL" clId="{51252F1B-A6DA-4E8A-8911-9DB2571E7116}" dt="2023-08-29T21:39:05.388" v="1416" actId="47"/>
        <pc:sldMkLst>
          <pc:docMk/>
          <pc:sldMk cId="1594179578" sldId="2566"/>
        </pc:sldMkLst>
      </pc:sldChg>
      <pc:sldChg chg="del">
        <pc:chgData name="Ilana Ferreira" userId="ef46969b-0d75-4852-a2b0-2fc45c93ff40" providerId="ADAL" clId="{51252F1B-A6DA-4E8A-8911-9DB2571E7116}" dt="2023-08-29T19:24:34.221" v="298" actId="47"/>
        <pc:sldMkLst>
          <pc:docMk/>
          <pc:sldMk cId="3482121332" sldId="2567"/>
        </pc:sldMkLst>
      </pc:sldChg>
      <pc:sldChg chg="del">
        <pc:chgData name="Ilana Ferreira" userId="ef46969b-0d75-4852-a2b0-2fc45c93ff40" providerId="ADAL" clId="{51252F1B-A6DA-4E8A-8911-9DB2571E7116}" dt="2023-08-29T21:39:07.018" v="1418" actId="47"/>
        <pc:sldMkLst>
          <pc:docMk/>
          <pc:sldMk cId="2993942827" sldId="2568"/>
        </pc:sldMkLst>
      </pc:sldChg>
      <pc:sldChg chg="del">
        <pc:chgData name="Ilana Ferreira" userId="ef46969b-0d75-4852-a2b0-2fc45c93ff40" providerId="ADAL" clId="{51252F1B-A6DA-4E8A-8911-9DB2571E7116}" dt="2023-08-29T19:24:35.279" v="299" actId="47"/>
        <pc:sldMkLst>
          <pc:docMk/>
          <pc:sldMk cId="3957592729" sldId="2569"/>
        </pc:sldMkLst>
      </pc:sldChg>
      <pc:sldChg chg="del">
        <pc:chgData name="Ilana Ferreira" userId="ef46969b-0d75-4852-a2b0-2fc45c93ff40" providerId="ADAL" clId="{51252F1B-A6DA-4E8A-8911-9DB2571E7116}" dt="2023-08-29T21:39:06.257" v="1417" actId="47"/>
        <pc:sldMkLst>
          <pc:docMk/>
          <pc:sldMk cId="3371340282" sldId="2570"/>
        </pc:sldMkLst>
      </pc:sldChg>
      <pc:sldChg chg="add del">
        <pc:chgData name="Ilana Ferreira" userId="ef46969b-0d75-4852-a2b0-2fc45c93ff40" providerId="ADAL" clId="{51252F1B-A6DA-4E8A-8911-9DB2571E7116}" dt="2023-08-29T21:39:03.482" v="1413" actId="47"/>
        <pc:sldMkLst>
          <pc:docMk/>
          <pc:sldMk cId="2315773422" sldId="2571"/>
        </pc:sldMkLst>
      </pc:sldChg>
      <pc:sldChg chg="del">
        <pc:chgData name="Ilana Ferreira" userId="ef46969b-0d75-4852-a2b0-2fc45c93ff40" providerId="ADAL" clId="{51252F1B-A6DA-4E8A-8911-9DB2571E7116}" dt="2023-08-29T21:39:04.140" v="1414" actId="47"/>
        <pc:sldMkLst>
          <pc:docMk/>
          <pc:sldMk cId="889191230" sldId="2572"/>
        </pc:sldMkLst>
      </pc:sldChg>
      <pc:sldChg chg="del">
        <pc:chgData name="Ilana Ferreira" userId="ef46969b-0d75-4852-a2b0-2fc45c93ff40" providerId="ADAL" clId="{51252F1B-A6DA-4E8A-8911-9DB2571E7116}" dt="2023-08-29T21:39:04.749" v="1415" actId="47"/>
        <pc:sldMkLst>
          <pc:docMk/>
          <pc:sldMk cId="2772682113" sldId="2573"/>
        </pc:sldMkLst>
      </pc:sldChg>
      <pc:sldChg chg="new del">
        <pc:chgData name="Ilana Ferreira" userId="ef46969b-0d75-4852-a2b0-2fc45c93ff40" providerId="ADAL" clId="{51252F1B-A6DA-4E8A-8911-9DB2571E7116}" dt="2023-08-29T21:39:01.199" v="1411" actId="47"/>
        <pc:sldMkLst>
          <pc:docMk/>
          <pc:sldMk cId="297913246" sldId="2574"/>
        </pc:sldMkLst>
      </pc:sldChg>
      <pc:sldChg chg="add del">
        <pc:chgData name="Ilana Ferreira" userId="ef46969b-0d75-4852-a2b0-2fc45c93ff40" providerId="ADAL" clId="{51252F1B-A6DA-4E8A-8911-9DB2571E7116}" dt="2023-08-29T21:37:14.199" v="1387" actId="47"/>
        <pc:sldMkLst>
          <pc:docMk/>
          <pc:sldMk cId="2314919118" sldId="2575"/>
        </pc:sldMkLst>
      </pc:sldChg>
      <pc:sldChg chg="modSp add del mod">
        <pc:chgData name="Ilana Ferreira" userId="ef46969b-0d75-4852-a2b0-2fc45c93ff40" providerId="ADAL" clId="{51252F1B-A6DA-4E8A-8911-9DB2571E7116}" dt="2023-08-29T21:37:13.239" v="1386" actId="47"/>
        <pc:sldMkLst>
          <pc:docMk/>
          <pc:sldMk cId="3902532981" sldId="2576"/>
        </pc:sldMkLst>
        <pc:spChg chg="mod">
          <ac:chgData name="Ilana Ferreira" userId="ef46969b-0d75-4852-a2b0-2fc45c93ff40" providerId="ADAL" clId="{51252F1B-A6DA-4E8A-8911-9DB2571E7116}" dt="2023-08-29T21:11:06.785" v="576" actId="1076"/>
          <ac:spMkLst>
            <pc:docMk/>
            <pc:sldMk cId="3902532981" sldId="2576"/>
            <ac:spMk id="4" creationId="{1735A316-A706-4AC4-F2F6-8F4FF806774E}"/>
          </ac:spMkLst>
        </pc:spChg>
      </pc:sldChg>
      <pc:sldChg chg="delSp modSp add mod">
        <pc:chgData name="Ilana Ferreira" userId="ef46969b-0d75-4852-a2b0-2fc45c93ff40" providerId="ADAL" clId="{51252F1B-A6DA-4E8A-8911-9DB2571E7116}" dt="2023-08-30T15:48:09.283" v="3263" actId="1036"/>
        <pc:sldMkLst>
          <pc:docMk/>
          <pc:sldMk cId="284599729" sldId="2577"/>
        </pc:sldMkLst>
        <pc:spChg chg="mod">
          <ac:chgData name="Ilana Ferreira" userId="ef46969b-0d75-4852-a2b0-2fc45c93ff40" providerId="ADAL" clId="{51252F1B-A6DA-4E8A-8911-9DB2571E7116}" dt="2023-08-30T15:48:09.283" v="3263" actId="1036"/>
          <ac:spMkLst>
            <pc:docMk/>
            <pc:sldMk cId="284599729" sldId="2577"/>
            <ac:spMk id="17" creationId="{9F56BEC4-F5DD-0E0A-29DD-ACAFB7D9E2F9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20" creationId="{7264C088-9DAF-6261-F978-51FAF149C328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21" creationId="{7BCC1B49-D6D1-7CBE-AA7C-6C29D2AD3BF9}"/>
          </ac:spMkLst>
        </pc:spChg>
        <pc:spChg chg="mod">
          <ac:chgData name="Ilana Ferreira" userId="ef46969b-0d75-4852-a2b0-2fc45c93ff40" providerId="ADAL" clId="{51252F1B-A6DA-4E8A-8911-9DB2571E7116}" dt="2023-08-30T15:26:55.032" v="2570" actId="20577"/>
          <ac:spMkLst>
            <pc:docMk/>
            <pc:sldMk cId="284599729" sldId="2577"/>
            <ac:spMk id="22" creationId="{B3E161EF-8694-A1BD-2FFF-B3788D97C915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23" creationId="{F247EFAF-36A3-A893-8FE4-8D8B482F062B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24" creationId="{4A2CDD3F-52CA-34FC-930B-C7F6AA8DCC76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25" creationId="{14CC7254-19D1-58D2-51FD-34E8E10FB9AD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27" creationId="{2DF54D69-0D5F-C8FD-99C4-556FA156E487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5" creationId="{39552E46-D685-739E-F5C0-F39A5808A778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57" creationId="{9C46926F-677D-CDC1-2A82-FBED5AFCDB8A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78" creationId="{D45A6CD2-6AEF-0691-A10C-5552B8C0E625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80" creationId="{F474BA86-BF9C-C229-F934-D1D79CDDCD73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82" creationId="{3F94FF31-88AE-ADA9-E363-3255A34E097F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83" creationId="{948A0AE1-6C85-9C01-97C7-2067E61338A0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87" creationId="{600C7D37-E7DA-8765-7AFE-9736C4FC047E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94" creationId="{8D2C8113-555B-C140-F227-B3CBBDDBA889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95" creationId="{A7082790-D107-37A5-41F6-D547AF8D5105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096" creationId="{41831F3E-ACB7-3F2F-663E-35058C71592C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03" creationId="{F304CF57-0CA0-8F99-47D0-8EB829C42C20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08" creationId="{1EF59B84-0D9B-1816-6F94-26F1AE7D6E20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09" creationId="{C43106C4-5388-D1E5-A67B-48721E718328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1" creationId="{3C086F26-DE23-BDE6-9E03-2C7FF239160B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3" creationId="{A7BCAD41-D7FA-32A4-07DE-65E2E1ABFEEF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5" creationId="{4A9ADC9D-587B-8D1A-69D4-A2924F902721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6" creationId="{D2220F80-1581-F52D-31A7-4BB7C9F85782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7" creationId="{AEF8EFE9-452C-5DB6-CF77-2E7418FA407D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8" creationId="{90977EDA-546A-75A2-FE6B-30D36F4F23E9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19" creationId="{8CC1B27D-6BD8-AF25-CCF0-E2E31BA9C62C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20" creationId="{3AB4094A-AF80-792E-5E14-1C342F22F3F5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23" creationId="{911860D1-9EE8-E060-F435-CE87F826E594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28" creationId="{6231432C-94AA-8896-2AA4-A20049569A21}"/>
          </ac:spMkLst>
        </pc:spChg>
        <pc:spChg chg="del">
          <ac:chgData name="Ilana Ferreira" userId="ef46969b-0d75-4852-a2b0-2fc45c93ff40" providerId="ADAL" clId="{51252F1B-A6DA-4E8A-8911-9DB2571E7116}" dt="2023-08-29T21:11:02.688" v="575" actId="478"/>
          <ac:spMkLst>
            <pc:docMk/>
            <pc:sldMk cId="284599729" sldId="2577"/>
            <ac:spMk id="3130" creationId="{B093E67D-270F-6D4F-9572-9362DD704C5A}"/>
          </ac:spMkLst>
        </pc:spChg>
        <pc:picChg chg="del">
          <ac:chgData name="Ilana Ferreira" userId="ef46969b-0d75-4852-a2b0-2fc45c93ff40" providerId="ADAL" clId="{51252F1B-A6DA-4E8A-8911-9DB2571E7116}" dt="2023-08-29T21:11:02.688" v="575" actId="478"/>
          <ac:picMkLst>
            <pc:docMk/>
            <pc:sldMk cId="284599729" sldId="2577"/>
            <ac:picMk id="26" creationId="{953ACE46-A231-E7F2-03EC-1884BB367801}"/>
          </ac:picMkLst>
        </pc:picChg>
        <pc:picChg chg="del">
          <ac:chgData name="Ilana Ferreira" userId="ef46969b-0d75-4852-a2b0-2fc45c93ff40" providerId="ADAL" clId="{51252F1B-A6DA-4E8A-8911-9DB2571E7116}" dt="2023-08-29T21:11:02.688" v="575" actId="478"/>
          <ac:picMkLst>
            <pc:docMk/>
            <pc:sldMk cId="284599729" sldId="2577"/>
            <ac:picMk id="3100" creationId="{E56D0D1A-B00A-A94F-4498-C468F60635EE}"/>
          </ac:picMkLst>
        </pc:picChg>
        <pc:picChg chg="del">
          <ac:chgData name="Ilana Ferreira" userId="ef46969b-0d75-4852-a2b0-2fc45c93ff40" providerId="ADAL" clId="{51252F1B-A6DA-4E8A-8911-9DB2571E7116}" dt="2023-08-29T21:11:02.688" v="575" actId="478"/>
          <ac:picMkLst>
            <pc:docMk/>
            <pc:sldMk cId="284599729" sldId="2577"/>
            <ac:picMk id="3101" creationId="{C9FF4F10-8ACB-C0EB-93DC-F16AAB190629}"/>
          </ac:picMkLst>
        </pc:picChg>
        <pc:picChg chg="del">
          <ac:chgData name="Ilana Ferreira" userId="ef46969b-0d75-4852-a2b0-2fc45c93ff40" providerId="ADAL" clId="{51252F1B-A6DA-4E8A-8911-9DB2571E7116}" dt="2023-08-29T21:11:02.688" v="575" actId="478"/>
          <ac:picMkLst>
            <pc:docMk/>
            <pc:sldMk cId="284599729" sldId="2577"/>
            <ac:picMk id="3107" creationId="{C2527BE5-136B-B223-53BC-A50E63257232}"/>
          </ac:picMkLst>
        </pc:picChg>
      </pc:sldChg>
      <pc:sldChg chg="addSp delSp modSp add mod modAnim">
        <pc:chgData name="Ilana Ferreira" userId="ef46969b-0d75-4852-a2b0-2fc45c93ff40" providerId="ADAL" clId="{51252F1B-A6DA-4E8A-8911-9DB2571E7116}" dt="2023-08-30T15:55:53.435" v="3373" actId="1036"/>
        <pc:sldMkLst>
          <pc:docMk/>
          <pc:sldMk cId="548847803" sldId="2578"/>
        </pc:sldMkLst>
        <pc:spChg chg="add mod">
          <ac:chgData name="Ilana Ferreira" userId="ef46969b-0d75-4852-a2b0-2fc45c93ff40" providerId="ADAL" clId="{51252F1B-A6DA-4E8A-8911-9DB2571E7116}" dt="2023-08-29T21:33:05.646" v="1299" actId="1036"/>
          <ac:spMkLst>
            <pc:docMk/>
            <pc:sldMk cId="548847803" sldId="2578"/>
            <ac:spMk id="6" creationId="{0BFCC78C-1613-3158-FE30-EC8BD4CE0BA0}"/>
          </ac:spMkLst>
        </pc:spChg>
        <pc:spChg chg="add mod">
          <ac:chgData name="Ilana Ferreira" userId="ef46969b-0d75-4852-a2b0-2fc45c93ff40" providerId="ADAL" clId="{51252F1B-A6DA-4E8A-8911-9DB2571E7116}" dt="2023-08-30T15:55:53.435" v="3373" actId="1036"/>
          <ac:spMkLst>
            <pc:docMk/>
            <pc:sldMk cId="548847803" sldId="2578"/>
            <ac:spMk id="9" creationId="{E780335F-07B7-2D12-464A-FEDD360E8340}"/>
          </ac:spMkLst>
        </pc:spChg>
        <pc:spChg chg="del">
          <ac:chgData name="Ilana Ferreira" userId="ef46969b-0d75-4852-a2b0-2fc45c93ff40" providerId="ADAL" clId="{51252F1B-A6DA-4E8A-8911-9DB2571E7116}" dt="2023-08-29T21:12:21.811" v="611" actId="478"/>
          <ac:spMkLst>
            <pc:docMk/>
            <pc:sldMk cId="548847803" sldId="2578"/>
            <ac:spMk id="17" creationId="{9F56BEC4-F5DD-0E0A-29DD-ACAFB7D9E2F9}"/>
          </ac:spMkLst>
        </pc:spChg>
        <pc:spChg chg="mod">
          <ac:chgData name="Ilana Ferreira" userId="ef46969b-0d75-4852-a2b0-2fc45c93ff40" providerId="ADAL" clId="{51252F1B-A6DA-4E8A-8911-9DB2571E7116}" dt="2023-08-30T15:53:51.151" v="3333" actId="1076"/>
          <ac:spMkLst>
            <pc:docMk/>
            <pc:sldMk cId="548847803" sldId="2578"/>
            <ac:spMk id="22" creationId="{B3E161EF-8694-A1BD-2FFF-B3788D97C915}"/>
          </ac:spMkLst>
        </pc:spChg>
        <pc:graphicFrameChg chg="add del mod">
          <ac:chgData name="Ilana Ferreira" userId="ef46969b-0d75-4852-a2b0-2fc45c93ff40" providerId="ADAL" clId="{51252F1B-A6DA-4E8A-8911-9DB2571E7116}" dt="2023-08-29T21:17:20.522" v="737" actId="478"/>
          <ac:graphicFrameMkLst>
            <pc:docMk/>
            <pc:sldMk cId="548847803" sldId="2578"/>
            <ac:graphicFrameMk id="3" creationId="{D0EC4371-156E-91A3-566F-1AB9F4707836}"/>
          </ac:graphicFrameMkLst>
        </pc:graphicFrameChg>
        <pc:graphicFrameChg chg="add mod modGraphic">
          <ac:chgData name="Ilana Ferreira" userId="ef46969b-0d75-4852-a2b0-2fc45c93ff40" providerId="ADAL" clId="{51252F1B-A6DA-4E8A-8911-9DB2571E7116}" dt="2023-08-30T15:50:54.562" v="3278" actId="20577"/>
          <ac:graphicFrameMkLst>
            <pc:docMk/>
            <pc:sldMk cId="548847803" sldId="2578"/>
            <ac:graphicFrameMk id="4" creationId="{6C94C42D-9EEF-F9E2-597E-8985A4627464}"/>
          </ac:graphicFrameMkLst>
        </pc:graphicFrameChg>
        <pc:picChg chg="add del mod">
          <ac:chgData name="Ilana Ferreira" userId="ef46969b-0d75-4852-a2b0-2fc45c93ff40" providerId="ADAL" clId="{51252F1B-A6DA-4E8A-8911-9DB2571E7116}" dt="2023-08-29T21:21:08.230" v="1051" actId="478"/>
          <ac:picMkLst>
            <pc:docMk/>
            <pc:sldMk cId="548847803" sldId="2578"/>
            <ac:picMk id="2" creationId="{845752B6-D346-3440-D82B-C17C811632E2}"/>
          </ac:picMkLst>
        </pc:picChg>
        <pc:picChg chg="add mod">
          <ac:chgData name="Ilana Ferreira" userId="ef46969b-0d75-4852-a2b0-2fc45c93ff40" providerId="ADAL" clId="{51252F1B-A6DA-4E8A-8911-9DB2571E7116}" dt="2023-08-29T21:33:05.646" v="1299" actId="1036"/>
          <ac:picMkLst>
            <pc:docMk/>
            <pc:sldMk cId="548847803" sldId="2578"/>
            <ac:picMk id="8" creationId="{C693A8EB-3400-34C3-A27F-FD9F5C5BADE4}"/>
          </ac:picMkLst>
        </pc:picChg>
      </pc:sldChg>
      <pc:sldChg chg="modSp add del mod">
        <pc:chgData name="Ilana Ferreira" userId="ef46969b-0d75-4852-a2b0-2fc45c93ff40" providerId="ADAL" clId="{51252F1B-A6DA-4E8A-8911-9DB2571E7116}" dt="2023-08-29T21:26:25.232" v="1114" actId="47"/>
        <pc:sldMkLst>
          <pc:docMk/>
          <pc:sldMk cId="675482848" sldId="2579"/>
        </pc:sldMkLst>
        <pc:spChg chg="mod">
          <ac:chgData name="Ilana Ferreira" userId="ef46969b-0d75-4852-a2b0-2fc45c93ff40" providerId="ADAL" clId="{51252F1B-A6DA-4E8A-8911-9DB2571E7116}" dt="2023-08-29T21:26:18.072" v="1113" actId="20577"/>
          <ac:spMkLst>
            <pc:docMk/>
            <pc:sldMk cId="675482848" sldId="2579"/>
            <ac:spMk id="22" creationId="{B3E161EF-8694-A1BD-2FFF-B3788D97C91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12ED0D-EE8C-4690-AF2A-790E5D0F6DEB}" type="datetimeFigureOut">
              <a:rPr lang="pt-BR" smtClean="0"/>
              <a:t>30/08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A705EC-9B88-4B9B-A6E4-1852BA1B27DE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3968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7E845B-25A8-41FF-8B7F-F757832F7D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28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3">
            <a:extLst>
              <a:ext uri="{FF2B5EF4-FFF2-40B4-BE49-F238E27FC236}">
                <a16:creationId xmlns:a16="http://schemas.microsoft.com/office/drawing/2014/main" xmlns="" id="{12B29877-6682-EF84-3404-268D44C8154B}"/>
              </a:ext>
            </a:extLst>
          </p:cNvPr>
          <p:cNvGrpSpPr/>
          <p:nvPr userDrawn="1"/>
        </p:nvGrpSpPr>
        <p:grpSpPr>
          <a:xfrm>
            <a:off x="946044" y="10638419"/>
            <a:ext cx="15751175" cy="670560"/>
            <a:chOff x="946044" y="10638419"/>
            <a:chExt cx="15751175" cy="670560"/>
          </a:xfrm>
        </p:grpSpPr>
        <p:pic>
          <p:nvPicPr>
            <p:cNvPr id="8" name="object 4">
              <a:extLst>
                <a:ext uri="{FF2B5EF4-FFF2-40B4-BE49-F238E27FC236}">
                  <a16:creationId xmlns:a16="http://schemas.microsoft.com/office/drawing/2014/main" xmlns="" id="{529B37D5-90C8-7051-0608-3D4614C001F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188760" y="10638419"/>
              <a:ext cx="14508356" cy="670136"/>
            </a:xfrm>
            <a:prstGeom prst="rect">
              <a:avLst/>
            </a:prstGeom>
          </p:spPr>
        </p:pic>
        <p:sp>
          <p:nvSpPr>
            <p:cNvPr id="9" name="object 5">
              <a:extLst>
                <a:ext uri="{FF2B5EF4-FFF2-40B4-BE49-F238E27FC236}">
                  <a16:creationId xmlns:a16="http://schemas.microsoft.com/office/drawing/2014/main" xmlns="" id="{6E847B01-8828-7FA2-CEC8-8E0F9CF247DD}"/>
                </a:ext>
              </a:extLst>
            </p:cNvPr>
            <p:cNvSpPr/>
            <p:nvPr/>
          </p:nvSpPr>
          <p:spPr>
            <a:xfrm>
              <a:off x="946044" y="10638419"/>
              <a:ext cx="3729990" cy="136525"/>
            </a:xfrm>
            <a:custGeom>
              <a:avLst/>
              <a:gdLst/>
              <a:ahLst/>
              <a:cxnLst/>
              <a:rect l="l" t="t" r="r" b="b"/>
              <a:pathLst>
                <a:path w="3729990" h="136525">
                  <a:moveTo>
                    <a:pt x="3729938" y="0"/>
                  </a:moveTo>
                  <a:lnTo>
                    <a:pt x="0" y="0"/>
                  </a:lnTo>
                  <a:lnTo>
                    <a:pt x="0" y="136121"/>
                  </a:lnTo>
                  <a:lnTo>
                    <a:pt x="3729938" y="136121"/>
                  </a:lnTo>
                  <a:lnTo>
                    <a:pt x="37299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object 6">
            <a:extLst>
              <a:ext uri="{FF2B5EF4-FFF2-40B4-BE49-F238E27FC236}">
                <a16:creationId xmlns:a16="http://schemas.microsoft.com/office/drawing/2014/main" xmlns="" id="{30586AA1-ED49-731B-85A9-11B643688030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xmlns="" id="{83A74078-2056-35EA-BF8A-FC8D6E0D17C9}"/>
              </a:ext>
            </a:extLst>
          </p:cNvPr>
          <p:cNvGrpSpPr/>
          <p:nvPr userDrawn="1"/>
        </p:nvGrpSpPr>
        <p:grpSpPr>
          <a:xfrm>
            <a:off x="16262723" y="193935"/>
            <a:ext cx="3379280" cy="4518212"/>
            <a:chOff x="15528259" y="425515"/>
            <a:chExt cx="4003675" cy="5353050"/>
          </a:xfrm>
        </p:grpSpPr>
        <p:grpSp>
          <p:nvGrpSpPr>
            <p:cNvPr id="12" name="object 25">
              <a:extLst>
                <a:ext uri="{FF2B5EF4-FFF2-40B4-BE49-F238E27FC236}">
                  <a16:creationId xmlns:a16="http://schemas.microsoft.com/office/drawing/2014/main" xmlns="" id="{7747086C-8AD4-FB01-47DA-2C2D2ABB3EAF}"/>
                </a:ext>
              </a:extLst>
            </p:cNvPr>
            <p:cNvGrpSpPr/>
            <p:nvPr/>
          </p:nvGrpSpPr>
          <p:grpSpPr>
            <a:xfrm>
              <a:off x="17022345" y="437057"/>
              <a:ext cx="758114" cy="783009"/>
              <a:chOff x="5516224" y="1909393"/>
              <a:chExt cx="1198880" cy="1238250"/>
            </a:xfrm>
          </p:grpSpPr>
          <p:sp>
            <p:nvSpPr>
              <p:cNvPr id="26" name="object 26">
                <a:extLst>
                  <a:ext uri="{FF2B5EF4-FFF2-40B4-BE49-F238E27FC236}">
                    <a16:creationId xmlns:a16="http://schemas.microsoft.com/office/drawing/2014/main" xmlns="" id="{1D95178E-EFFE-D2B0-91ED-7BC77DC43E4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27">
                <a:extLst>
                  <a:ext uri="{FF2B5EF4-FFF2-40B4-BE49-F238E27FC236}">
                    <a16:creationId xmlns:a16="http://schemas.microsoft.com/office/drawing/2014/main" xmlns="" id="{6DD578D3-B201-4037-E281-3139F9233CE9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28">
                <a:extLst>
                  <a:ext uri="{FF2B5EF4-FFF2-40B4-BE49-F238E27FC236}">
                    <a16:creationId xmlns:a16="http://schemas.microsoft.com/office/drawing/2014/main" xmlns="" id="{8133A8C3-15A8-0C93-B08E-4F32DD07C8D8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object 29">
                <a:extLst>
                  <a:ext uri="{FF2B5EF4-FFF2-40B4-BE49-F238E27FC236}">
                    <a16:creationId xmlns:a16="http://schemas.microsoft.com/office/drawing/2014/main" xmlns="" id="{51EE2A3A-3A76-3B4F-01A3-DA309B0617C9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object 12">
              <a:extLst>
                <a:ext uri="{FF2B5EF4-FFF2-40B4-BE49-F238E27FC236}">
                  <a16:creationId xmlns:a16="http://schemas.microsoft.com/office/drawing/2014/main" xmlns="" id="{7BB212CA-816D-763B-2087-55820FC082C1}"/>
                </a:ext>
              </a:extLst>
            </p:cNvPr>
            <p:cNvGrpSpPr/>
            <p:nvPr/>
          </p:nvGrpSpPr>
          <p:grpSpPr>
            <a:xfrm>
              <a:off x="15528259" y="425515"/>
              <a:ext cx="4003675" cy="5353050"/>
              <a:chOff x="15131167" y="948417"/>
              <a:chExt cx="4003675" cy="5353050"/>
            </a:xfrm>
          </p:grpSpPr>
          <p:sp>
            <p:nvSpPr>
              <p:cNvPr id="14" name="object 13">
                <a:extLst>
                  <a:ext uri="{FF2B5EF4-FFF2-40B4-BE49-F238E27FC236}">
                    <a16:creationId xmlns:a16="http://schemas.microsoft.com/office/drawing/2014/main" xmlns="" id="{742BEE2A-A263-642B-5A93-0D9FF20C1F7A}"/>
                  </a:ext>
                </a:extLst>
              </p:cNvPr>
              <p:cNvSpPr/>
              <p:nvPr/>
            </p:nvSpPr>
            <p:spPr>
              <a:xfrm>
                <a:off x="15222510" y="4861129"/>
                <a:ext cx="3820795" cy="1348740"/>
              </a:xfrm>
              <a:custGeom>
                <a:avLst/>
                <a:gdLst/>
                <a:ahLst/>
                <a:cxnLst/>
                <a:rect l="l" t="t" r="r" b="b"/>
                <a:pathLst>
                  <a:path w="3820794" h="1348739">
                    <a:moveTo>
                      <a:pt x="0" y="1348660"/>
                    </a:moveTo>
                    <a:lnTo>
                      <a:pt x="3820710" y="1348660"/>
                    </a:lnTo>
                    <a:lnTo>
                      <a:pt x="3820710" y="0"/>
                    </a:lnTo>
                    <a:lnTo>
                      <a:pt x="0" y="0"/>
                    </a:lnTo>
                    <a:lnTo>
                      <a:pt x="0" y="1348660"/>
                    </a:lnTo>
                    <a:close/>
                  </a:path>
                </a:pathLst>
              </a:custGeom>
              <a:ln w="18268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5" name="object 14">
                <a:extLst>
                  <a:ext uri="{FF2B5EF4-FFF2-40B4-BE49-F238E27FC236}">
                    <a16:creationId xmlns:a16="http://schemas.microsoft.com/office/drawing/2014/main" xmlns="" id="{106DCE32-8413-930C-7C03-83CA80E62E4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7516148" y="1468723"/>
                <a:ext cx="193941" cy="241950"/>
              </a:xfrm>
              <a:prstGeom prst="rect">
                <a:avLst/>
              </a:prstGeom>
            </p:spPr>
          </p:pic>
          <p:sp>
            <p:nvSpPr>
              <p:cNvPr id="16" name="object 15">
                <a:extLst>
                  <a:ext uri="{FF2B5EF4-FFF2-40B4-BE49-F238E27FC236}">
                    <a16:creationId xmlns:a16="http://schemas.microsoft.com/office/drawing/2014/main" xmlns="" id="{F1FF8853-E26E-7679-D6FF-CFAD6BBB8736}"/>
                  </a:ext>
                </a:extLst>
              </p:cNvPr>
              <p:cNvSpPr/>
              <p:nvPr/>
            </p:nvSpPr>
            <p:spPr>
              <a:xfrm>
                <a:off x="17740986" y="1373599"/>
                <a:ext cx="4699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46990" h="336550">
                    <a:moveTo>
                      <a:pt x="46786" y="95097"/>
                    </a:moveTo>
                    <a:lnTo>
                      <a:pt x="0" y="95097"/>
                    </a:lnTo>
                    <a:lnTo>
                      <a:pt x="0" y="336473"/>
                    </a:lnTo>
                    <a:lnTo>
                      <a:pt x="46786" y="336473"/>
                    </a:lnTo>
                    <a:lnTo>
                      <a:pt x="46786" y="95097"/>
                    </a:lnTo>
                    <a:close/>
                  </a:path>
                  <a:path w="46990" h="336550">
                    <a:moveTo>
                      <a:pt x="46786" y="0"/>
                    </a:moveTo>
                    <a:lnTo>
                      <a:pt x="0" y="0"/>
                    </a:lnTo>
                    <a:lnTo>
                      <a:pt x="0" y="46799"/>
                    </a:lnTo>
                    <a:lnTo>
                      <a:pt x="46786" y="46799"/>
                    </a:lnTo>
                    <a:lnTo>
                      <a:pt x="46786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7" name="object 16">
                <a:extLst>
                  <a:ext uri="{FF2B5EF4-FFF2-40B4-BE49-F238E27FC236}">
                    <a16:creationId xmlns:a16="http://schemas.microsoft.com/office/drawing/2014/main" xmlns="" id="{1E23A749-CFB4-55B4-7938-2A0868EC4798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7824631" y="1468689"/>
                <a:ext cx="224118" cy="241385"/>
              </a:xfrm>
              <a:prstGeom prst="rect">
                <a:avLst/>
              </a:prstGeom>
            </p:spPr>
          </p:pic>
          <p:sp>
            <p:nvSpPr>
              <p:cNvPr id="18" name="object 17">
                <a:extLst>
                  <a:ext uri="{FF2B5EF4-FFF2-40B4-BE49-F238E27FC236}">
                    <a16:creationId xmlns:a16="http://schemas.microsoft.com/office/drawing/2014/main" xmlns="" id="{0012F36E-CB63-068D-DA35-8BCED93726AD}"/>
                  </a:ext>
                </a:extLst>
              </p:cNvPr>
              <p:cNvSpPr/>
              <p:nvPr/>
            </p:nvSpPr>
            <p:spPr>
              <a:xfrm>
                <a:off x="18082274" y="1373501"/>
                <a:ext cx="224154" cy="33718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337185">
                    <a:moveTo>
                      <a:pt x="224118" y="0"/>
                    </a:moveTo>
                    <a:lnTo>
                      <a:pt x="177010" y="0"/>
                    </a:lnTo>
                    <a:lnTo>
                      <a:pt x="177010" y="95180"/>
                    </a:lnTo>
                    <a:lnTo>
                      <a:pt x="112300" y="95180"/>
                    </a:lnTo>
                    <a:lnTo>
                      <a:pt x="63168" y="102742"/>
                    </a:lnTo>
                    <a:lnTo>
                      <a:pt x="28075" y="125383"/>
                    </a:lnTo>
                    <a:lnTo>
                      <a:pt x="7018" y="163102"/>
                    </a:lnTo>
                    <a:lnTo>
                      <a:pt x="0" y="215899"/>
                    </a:lnTo>
                    <a:lnTo>
                      <a:pt x="7195" y="268916"/>
                    </a:lnTo>
                    <a:lnTo>
                      <a:pt x="28310" y="306777"/>
                    </a:lnTo>
                    <a:lnTo>
                      <a:pt x="63345" y="329483"/>
                    </a:lnTo>
                    <a:lnTo>
                      <a:pt x="112300" y="337036"/>
                    </a:lnTo>
                    <a:lnTo>
                      <a:pt x="161219" y="329452"/>
                    </a:lnTo>
                    <a:lnTo>
                      <a:pt x="196162" y="306734"/>
                    </a:lnTo>
                    <a:lnTo>
                      <a:pt x="205373" y="290106"/>
                    </a:lnTo>
                    <a:lnTo>
                      <a:pt x="112300" y="290106"/>
                    </a:lnTo>
                    <a:lnTo>
                      <a:pt x="94909" y="288834"/>
                    </a:lnTo>
                    <a:lnTo>
                      <a:pt x="59746" y="269468"/>
                    </a:lnTo>
                    <a:lnTo>
                      <a:pt x="47537" y="215899"/>
                    </a:lnTo>
                    <a:lnTo>
                      <a:pt x="48299" y="198634"/>
                    </a:lnTo>
                    <a:lnTo>
                      <a:pt x="59746" y="162246"/>
                    </a:lnTo>
                    <a:lnTo>
                      <a:pt x="94919" y="143336"/>
                    </a:lnTo>
                    <a:lnTo>
                      <a:pt x="112300" y="142068"/>
                    </a:lnTo>
                    <a:lnTo>
                      <a:pt x="224118" y="142068"/>
                    </a:lnTo>
                    <a:lnTo>
                      <a:pt x="224118" y="0"/>
                    </a:lnTo>
                    <a:close/>
                  </a:path>
                  <a:path w="224155" h="337185">
                    <a:moveTo>
                      <a:pt x="224118" y="142068"/>
                    </a:moveTo>
                    <a:lnTo>
                      <a:pt x="177010" y="142068"/>
                    </a:lnTo>
                    <a:lnTo>
                      <a:pt x="177010" y="215899"/>
                    </a:lnTo>
                    <a:lnTo>
                      <a:pt x="176264" y="233160"/>
                    </a:lnTo>
                    <a:lnTo>
                      <a:pt x="155935" y="278479"/>
                    </a:lnTo>
                    <a:lnTo>
                      <a:pt x="112300" y="290106"/>
                    </a:lnTo>
                    <a:lnTo>
                      <a:pt x="205373" y="290106"/>
                    </a:lnTo>
                    <a:lnTo>
                      <a:pt x="217129" y="268882"/>
                    </a:lnTo>
                    <a:lnTo>
                      <a:pt x="224118" y="215899"/>
                    </a:lnTo>
                    <a:lnTo>
                      <a:pt x="224118" y="142068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18">
                <a:extLst>
                  <a:ext uri="{FF2B5EF4-FFF2-40B4-BE49-F238E27FC236}">
                    <a16:creationId xmlns:a16="http://schemas.microsoft.com/office/drawing/2014/main" xmlns="" id="{35A4352A-CF85-B341-36EB-E1F39AC0EBDD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8341749" y="1468684"/>
                <a:ext cx="460443" cy="241386"/>
              </a:xfrm>
              <a:prstGeom prst="rect">
                <a:avLst/>
              </a:prstGeom>
            </p:spPr>
          </p:pic>
          <p:pic>
            <p:nvPicPr>
              <p:cNvPr id="20" name="object 19">
                <a:extLst>
                  <a:ext uri="{FF2B5EF4-FFF2-40B4-BE49-F238E27FC236}">
                    <a16:creationId xmlns:a16="http://schemas.microsoft.com/office/drawing/2014/main" xmlns="" id="{16223CF8-85F6-3FCD-8266-8D3BE94A2F1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8837037" y="1468689"/>
                <a:ext cx="224160" cy="241385"/>
              </a:xfrm>
              <a:prstGeom prst="rect">
                <a:avLst/>
              </a:prstGeom>
            </p:spPr>
          </p:pic>
          <p:pic>
            <p:nvPicPr>
              <p:cNvPr id="21" name="object 20">
                <a:extLst>
                  <a:ext uri="{FF2B5EF4-FFF2-40B4-BE49-F238E27FC236}">
                    <a16:creationId xmlns:a16="http://schemas.microsoft.com/office/drawing/2014/main" xmlns="" id="{278AD776-9F09-5866-FBB3-16B69FAECE0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8500083" y="1044583"/>
                <a:ext cx="226370" cy="243814"/>
              </a:xfrm>
              <a:prstGeom prst="rect">
                <a:avLst/>
              </a:prstGeom>
            </p:spPr>
          </p:pic>
          <p:pic>
            <p:nvPicPr>
              <p:cNvPr id="22" name="object 21">
                <a:extLst>
                  <a:ext uri="{FF2B5EF4-FFF2-40B4-BE49-F238E27FC236}">
                    <a16:creationId xmlns:a16="http://schemas.microsoft.com/office/drawing/2014/main" xmlns="" id="{7CFAA3D5-0BD9-8AEA-48B3-6879BBA908BE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7516270" y="1044411"/>
                <a:ext cx="196203" cy="243982"/>
              </a:xfrm>
              <a:prstGeom prst="rect">
                <a:avLst/>
              </a:prstGeom>
            </p:spPr>
          </p:pic>
          <p:sp>
            <p:nvSpPr>
              <p:cNvPr id="23" name="object 22">
                <a:extLst>
                  <a:ext uri="{FF2B5EF4-FFF2-40B4-BE49-F238E27FC236}">
                    <a16:creationId xmlns:a16="http://schemas.microsoft.com/office/drawing/2014/main" xmlns="" id="{DFF70D8C-46BA-995B-F4FD-09A26A728D70}"/>
                  </a:ext>
                </a:extLst>
              </p:cNvPr>
              <p:cNvSpPr/>
              <p:nvPr/>
            </p:nvSpPr>
            <p:spPr>
              <a:xfrm>
                <a:off x="17749108" y="948417"/>
                <a:ext cx="226695" cy="340360"/>
              </a:xfrm>
              <a:custGeom>
                <a:avLst/>
                <a:gdLst/>
                <a:ahLst/>
                <a:cxnLst/>
                <a:rect l="l" t="t" r="r" b="b"/>
                <a:pathLst>
                  <a:path w="226694" h="340359">
                    <a:moveTo>
                      <a:pt x="47569" y="0"/>
                    </a:moveTo>
                    <a:lnTo>
                      <a:pt x="0" y="0"/>
                    </a:lnTo>
                    <a:lnTo>
                      <a:pt x="27" y="218286"/>
                    </a:lnTo>
                    <a:lnTo>
                      <a:pt x="6901" y="271407"/>
                    </a:lnTo>
                    <a:lnTo>
                      <a:pt x="28029" y="309502"/>
                    </a:lnTo>
                    <a:lnTo>
                      <a:pt x="63385" y="332359"/>
                    </a:lnTo>
                    <a:lnTo>
                      <a:pt x="112970" y="339979"/>
                    </a:lnTo>
                    <a:lnTo>
                      <a:pt x="162603" y="332359"/>
                    </a:lnTo>
                    <a:lnTo>
                      <a:pt x="198020" y="309556"/>
                    </a:lnTo>
                    <a:lnTo>
                      <a:pt x="207413" y="292755"/>
                    </a:lnTo>
                    <a:lnTo>
                      <a:pt x="112970" y="292755"/>
                    </a:lnTo>
                    <a:lnTo>
                      <a:pt x="95406" y="291446"/>
                    </a:lnTo>
                    <a:lnTo>
                      <a:pt x="59914" y="271813"/>
                    </a:lnTo>
                    <a:lnTo>
                      <a:pt x="48340" y="235484"/>
                    </a:lnTo>
                    <a:lnTo>
                      <a:pt x="47569" y="218286"/>
                    </a:lnTo>
                    <a:lnTo>
                      <a:pt x="47569" y="143524"/>
                    </a:lnTo>
                    <a:lnTo>
                      <a:pt x="207416" y="143524"/>
                    </a:lnTo>
                    <a:lnTo>
                      <a:pt x="198043" y="126696"/>
                    </a:lnTo>
                    <a:lnTo>
                      <a:pt x="162600" y="103797"/>
                    </a:lnTo>
                    <a:lnTo>
                      <a:pt x="112970" y="96164"/>
                    </a:lnTo>
                    <a:lnTo>
                      <a:pt x="47569" y="96164"/>
                    </a:lnTo>
                    <a:lnTo>
                      <a:pt x="47569" y="0"/>
                    </a:lnTo>
                    <a:close/>
                  </a:path>
                  <a:path w="226694" h="340359">
                    <a:moveTo>
                      <a:pt x="207416" y="143524"/>
                    </a:moveTo>
                    <a:lnTo>
                      <a:pt x="112970" y="143524"/>
                    </a:lnTo>
                    <a:lnTo>
                      <a:pt x="130531" y="144839"/>
                    </a:lnTo>
                    <a:lnTo>
                      <a:pt x="145300" y="148738"/>
                    </a:lnTo>
                    <a:lnTo>
                      <a:pt x="175714" y="186104"/>
                    </a:lnTo>
                    <a:lnTo>
                      <a:pt x="178800" y="218286"/>
                    </a:lnTo>
                    <a:lnTo>
                      <a:pt x="177913" y="235496"/>
                    </a:lnTo>
                    <a:lnTo>
                      <a:pt x="166330" y="271813"/>
                    </a:lnTo>
                    <a:lnTo>
                      <a:pt x="130553" y="291446"/>
                    </a:lnTo>
                    <a:lnTo>
                      <a:pt x="112970" y="292755"/>
                    </a:lnTo>
                    <a:lnTo>
                      <a:pt x="207413" y="292755"/>
                    </a:lnTo>
                    <a:lnTo>
                      <a:pt x="219282" y="271527"/>
                    </a:lnTo>
                    <a:lnTo>
                      <a:pt x="226370" y="218286"/>
                    </a:lnTo>
                    <a:lnTo>
                      <a:pt x="219300" y="164859"/>
                    </a:lnTo>
                    <a:lnTo>
                      <a:pt x="207416" y="14352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4" name="object 23">
                <a:extLst>
                  <a:ext uri="{FF2B5EF4-FFF2-40B4-BE49-F238E27FC236}">
                    <a16:creationId xmlns:a16="http://schemas.microsoft.com/office/drawing/2014/main" xmlns="" id="{F07838CA-71E1-DDBF-66CF-C8EDEBBAFD31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7999732" y="1044581"/>
                <a:ext cx="465118" cy="243820"/>
              </a:xfrm>
              <a:prstGeom prst="rect">
                <a:avLst/>
              </a:prstGeom>
            </p:spPr>
          </p:pic>
          <p:pic>
            <p:nvPicPr>
              <p:cNvPr id="25" name="object 24">
                <a:extLst>
                  <a:ext uri="{FF2B5EF4-FFF2-40B4-BE49-F238E27FC236}">
                    <a16:creationId xmlns:a16="http://schemas.microsoft.com/office/drawing/2014/main" xmlns="" id="{13951F91-3601-D905-1C5B-4AC5F4BC8BDF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703765" y="1402267"/>
                <a:ext cx="246201" cy="201941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xmlns="" id="{6798ECAB-91A1-44AC-8C58-03CADB5833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5205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A19CA8C3-3C0E-4CE4-99E0-E10A42CA1DBC}" type="datetimeFigureOut">
              <a:rPr lang="pt-BR" smtClean="0"/>
              <a:t>30/08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xmlns="" id="{22E45D1C-526A-418E-8A00-23FC2D0A4D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35394" y="10517696"/>
            <a:ext cx="6433312" cy="276999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1B93AF0A-BF3E-411D-A156-7699396A6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74953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404789F3-D4A1-4868-AB97-68497646EBF0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0467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4E7D4FBA-014C-42A8-86D7-135F4D179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5883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Slide do think-cell" r:id="rId4" imgW="488" imgH="484" progId="TCLayout.ActiveDocument.1">
                  <p:embed/>
                </p:oleObj>
              </mc:Choice>
              <mc:Fallback>
                <p:oleObj name="Slide do think-cell" r:id="rId4" imgW="488" imgH="48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xmlns="" id="{4E7D4FBA-014C-42A8-86D7-135F4D179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835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049AA-7984-44B5-B664-0EA277CEFDA5}" type="datetimeFigureOut">
              <a:rPr lang="pt-BR" smtClean="0"/>
              <a:t>30/08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E2165-128C-4D4B-9F19-BD5C523D7DB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8982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9.png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3">
            <a:extLst>
              <a:ext uri="{FF2B5EF4-FFF2-40B4-BE49-F238E27FC236}">
                <a16:creationId xmlns:a16="http://schemas.microsoft.com/office/drawing/2014/main" xmlns="" id="{999D2FC6-7FBF-92A1-1743-21177A96CE9A}"/>
              </a:ext>
            </a:extLst>
          </p:cNvPr>
          <p:cNvGrpSpPr/>
          <p:nvPr userDrawn="1"/>
        </p:nvGrpSpPr>
        <p:grpSpPr>
          <a:xfrm>
            <a:off x="946044" y="10638419"/>
            <a:ext cx="15751072" cy="670136"/>
            <a:chOff x="946044" y="10638419"/>
            <a:chExt cx="15751072" cy="670136"/>
          </a:xfrm>
        </p:grpSpPr>
        <p:pic>
          <p:nvPicPr>
            <p:cNvPr id="8" name="object 4">
              <a:extLst>
                <a:ext uri="{FF2B5EF4-FFF2-40B4-BE49-F238E27FC236}">
                  <a16:creationId xmlns:a16="http://schemas.microsoft.com/office/drawing/2014/main" xmlns="" id="{1DFF16F8-19F1-6E24-2A20-9A93ABE09C02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2188760" y="10638419"/>
              <a:ext cx="14508356" cy="670136"/>
            </a:xfrm>
            <a:prstGeom prst="rect">
              <a:avLst/>
            </a:prstGeom>
          </p:spPr>
        </p:pic>
        <p:sp>
          <p:nvSpPr>
            <p:cNvPr id="9" name="object 5">
              <a:extLst>
                <a:ext uri="{FF2B5EF4-FFF2-40B4-BE49-F238E27FC236}">
                  <a16:creationId xmlns:a16="http://schemas.microsoft.com/office/drawing/2014/main" xmlns="" id="{B1DC4D0B-64CC-6962-8857-64402565BB90}"/>
                </a:ext>
              </a:extLst>
            </p:cNvPr>
            <p:cNvSpPr/>
            <p:nvPr/>
          </p:nvSpPr>
          <p:spPr>
            <a:xfrm>
              <a:off x="946044" y="10638419"/>
              <a:ext cx="3729990" cy="136525"/>
            </a:xfrm>
            <a:custGeom>
              <a:avLst/>
              <a:gdLst/>
              <a:ahLst/>
              <a:cxnLst/>
              <a:rect l="l" t="t" r="r" b="b"/>
              <a:pathLst>
                <a:path w="3729990" h="136525">
                  <a:moveTo>
                    <a:pt x="3729938" y="0"/>
                  </a:moveTo>
                  <a:lnTo>
                    <a:pt x="0" y="0"/>
                  </a:lnTo>
                  <a:lnTo>
                    <a:pt x="0" y="136121"/>
                  </a:lnTo>
                  <a:lnTo>
                    <a:pt x="3729938" y="136121"/>
                  </a:lnTo>
                  <a:lnTo>
                    <a:pt x="37299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object 6">
            <a:extLst>
              <a:ext uri="{FF2B5EF4-FFF2-40B4-BE49-F238E27FC236}">
                <a16:creationId xmlns:a16="http://schemas.microsoft.com/office/drawing/2014/main" xmlns="" id="{6A0354BB-3CC7-1493-3032-3301EF1126CC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xmlns="" id="{6633470F-B9A8-3828-2991-98616E2D0A96}"/>
              </a:ext>
            </a:extLst>
          </p:cNvPr>
          <p:cNvGrpSpPr/>
          <p:nvPr userDrawn="1"/>
        </p:nvGrpSpPr>
        <p:grpSpPr>
          <a:xfrm>
            <a:off x="16262723" y="193935"/>
            <a:ext cx="3379280" cy="4518212"/>
            <a:chOff x="15528259" y="425515"/>
            <a:chExt cx="4003675" cy="5353050"/>
          </a:xfrm>
        </p:grpSpPr>
        <p:grpSp>
          <p:nvGrpSpPr>
            <p:cNvPr id="12" name="object 25">
              <a:extLst>
                <a:ext uri="{FF2B5EF4-FFF2-40B4-BE49-F238E27FC236}">
                  <a16:creationId xmlns:a16="http://schemas.microsoft.com/office/drawing/2014/main" xmlns="" id="{A9E375DE-B756-0C40-B370-49AE5FA2365E}"/>
                </a:ext>
              </a:extLst>
            </p:cNvPr>
            <p:cNvGrpSpPr/>
            <p:nvPr/>
          </p:nvGrpSpPr>
          <p:grpSpPr>
            <a:xfrm>
              <a:off x="17022345" y="437057"/>
              <a:ext cx="758114" cy="783009"/>
              <a:chOff x="5516224" y="1909393"/>
              <a:chExt cx="1198880" cy="1238250"/>
            </a:xfrm>
          </p:grpSpPr>
          <p:sp>
            <p:nvSpPr>
              <p:cNvPr id="26" name="object 26">
                <a:extLst>
                  <a:ext uri="{FF2B5EF4-FFF2-40B4-BE49-F238E27FC236}">
                    <a16:creationId xmlns:a16="http://schemas.microsoft.com/office/drawing/2014/main" xmlns="" id="{79781FE4-6BC9-C351-EABB-7A159BDABFB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27">
                <a:extLst>
                  <a:ext uri="{FF2B5EF4-FFF2-40B4-BE49-F238E27FC236}">
                    <a16:creationId xmlns:a16="http://schemas.microsoft.com/office/drawing/2014/main" xmlns="" id="{EAFC4D2D-F131-8761-7619-65D4AEBE8161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28">
                <a:extLst>
                  <a:ext uri="{FF2B5EF4-FFF2-40B4-BE49-F238E27FC236}">
                    <a16:creationId xmlns:a16="http://schemas.microsoft.com/office/drawing/2014/main" xmlns="" id="{2F91B168-9895-E1AA-0D7B-9AAD75091320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object 29">
                <a:extLst>
                  <a:ext uri="{FF2B5EF4-FFF2-40B4-BE49-F238E27FC236}">
                    <a16:creationId xmlns:a16="http://schemas.microsoft.com/office/drawing/2014/main" xmlns="" id="{1F1FCAEB-451B-D379-2964-A2882ABDCE81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object 12">
              <a:extLst>
                <a:ext uri="{FF2B5EF4-FFF2-40B4-BE49-F238E27FC236}">
                  <a16:creationId xmlns:a16="http://schemas.microsoft.com/office/drawing/2014/main" xmlns="" id="{09F15B44-E847-371C-CD20-54C19417EB35}"/>
                </a:ext>
              </a:extLst>
            </p:cNvPr>
            <p:cNvGrpSpPr/>
            <p:nvPr/>
          </p:nvGrpSpPr>
          <p:grpSpPr>
            <a:xfrm>
              <a:off x="15528259" y="425515"/>
              <a:ext cx="4003675" cy="5353050"/>
              <a:chOff x="15131167" y="948417"/>
              <a:chExt cx="4003675" cy="5353050"/>
            </a:xfrm>
          </p:grpSpPr>
          <p:sp>
            <p:nvSpPr>
              <p:cNvPr id="14" name="object 13">
                <a:extLst>
                  <a:ext uri="{FF2B5EF4-FFF2-40B4-BE49-F238E27FC236}">
                    <a16:creationId xmlns:a16="http://schemas.microsoft.com/office/drawing/2014/main" xmlns="" id="{4A23BE19-4DB6-7E39-0206-F284940C97D1}"/>
                  </a:ext>
                </a:extLst>
              </p:cNvPr>
              <p:cNvSpPr/>
              <p:nvPr/>
            </p:nvSpPr>
            <p:spPr>
              <a:xfrm>
                <a:off x="15222510" y="4861129"/>
                <a:ext cx="3820795" cy="1348740"/>
              </a:xfrm>
              <a:custGeom>
                <a:avLst/>
                <a:gdLst/>
                <a:ahLst/>
                <a:cxnLst/>
                <a:rect l="l" t="t" r="r" b="b"/>
                <a:pathLst>
                  <a:path w="3820794" h="1348739">
                    <a:moveTo>
                      <a:pt x="0" y="1348660"/>
                    </a:moveTo>
                    <a:lnTo>
                      <a:pt x="3820710" y="1348660"/>
                    </a:lnTo>
                    <a:lnTo>
                      <a:pt x="3820710" y="0"/>
                    </a:lnTo>
                    <a:lnTo>
                      <a:pt x="0" y="0"/>
                    </a:lnTo>
                    <a:lnTo>
                      <a:pt x="0" y="1348660"/>
                    </a:lnTo>
                    <a:close/>
                  </a:path>
                </a:pathLst>
              </a:custGeom>
              <a:ln w="18268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5" name="object 14">
                <a:extLst>
                  <a:ext uri="{FF2B5EF4-FFF2-40B4-BE49-F238E27FC236}">
                    <a16:creationId xmlns:a16="http://schemas.microsoft.com/office/drawing/2014/main" xmlns="" id="{1A74369B-89E0-54ED-8835-D705112742F9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7516148" y="1468723"/>
                <a:ext cx="193941" cy="241950"/>
              </a:xfrm>
              <a:prstGeom prst="rect">
                <a:avLst/>
              </a:prstGeom>
            </p:spPr>
          </p:pic>
          <p:sp>
            <p:nvSpPr>
              <p:cNvPr id="16" name="object 15">
                <a:extLst>
                  <a:ext uri="{FF2B5EF4-FFF2-40B4-BE49-F238E27FC236}">
                    <a16:creationId xmlns:a16="http://schemas.microsoft.com/office/drawing/2014/main" xmlns="" id="{A952FE3B-C495-917B-9364-DAF1B5D77809}"/>
                  </a:ext>
                </a:extLst>
              </p:cNvPr>
              <p:cNvSpPr/>
              <p:nvPr/>
            </p:nvSpPr>
            <p:spPr>
              <a:xfrm>
                <a:off x="17740986" y="1373599"/>
                <a:ext cx="4699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46990" h="336550">
                    <a:moveTo>
                      <a:pt x="46786" y="95097"/>
                    </a:moveTo>
                    <a:lnTo>
                      <a:pt x="0" y="95097"/>
                    </a:lnTo>
                    <a:lnTo>
                      <a:pt x="0" y="336473"/>
                    </a:lnTo>
                    <a:lnTo>
                      <a:pt x="46786" y="336473"/>
                    </a:lnTo>
                    <a:lnTo>
                      <a:pt x="46786" y="95097"/>
                    </a:lnTo>
                    <a:close/>
                  </a:path>
                  <a:path w="46990" h="336550">
                    <a:moveTo>
                      <a:pt x="46786" y="0"/>
                    </a:moveTo>
                    <a:lnTo>
                      <a:pt x="0" y="0"/>
                    </a:lnTo>
                    <a:lnTo>
                      <a:pt x="0" y="46799"/>
                    </a:lnTo>
                    <a:lnTo>
                      <a:pt x="46786" y="46799"/>
                    </a:lnTo>
                    <a:lnTo>
                      <a:pt x="46786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7" name="object 16">
                <a:extLst>
                  <a:ext uri="{FF2B5EF4-FFF2-40B4-BE49-F238E27FC236}">
                    <a16:creationId xmlns:a16="http://schemas.microsoft.com/office/drawing/2014/main" xmlns="" id="{12278E24-78B2-C7F6-426C-56C0A5A83F17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7824631" y="1468689"/>
                <a:ext cx="224118" cy="241385"/>
              </a:xfrm>
              <a:prstGeom prst="rect">
                <a:avLst/>
              </a:prstGeom>
            </p:spPr>
          </p:pic>
          <p:sp>
            <p:nvSpPr>
              <p:cNvPr id="18" name="object 17">
                <a:extLst>
                  <a:ext uri="{FF2B5EF4-FFF2-40B4-BE49-F238E27FC236}">
                    <a16:creationId xmlns:a16="http://schemas.microsoft.com/office/drawing/2014/main" xmlns="" id="{A83FFFEF-F345-C888-B1F5-F460DCFA25BC}"/>
                  </a:ext>
                </a:extLst>
              </p:cNvPr>
              <p:cNvSpPr/>
              <p:nvPr/>
            </p:nvSpPr>
            <p:spPr>
              <a:xfrm>
                <a:off x="18082274" y="1373501"/>
                <a:ext cx="224154" cy="33718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337185">
                    <a:moveTo>
                      <a:pt x="224118" y="0"/>
                    </a:moveTo>
                    <a:lnTo>
                      <a:pt x="177010" y="0"/>
                    </a:lnTo>
                    <a:lnTo>
                      <a:pt x="177010" y="95180"/>
                    </a:lnTo>
                    <a:lnTo>
                      <a:pt x="112300" y="95180"/>
                    </a:lnTo>
                    <a:lnTo>
                      <a:pt x="63168" y="102742"/>
                    </a:lnTo>
                    <a:lnTo>
                      <a:pt x="28075" y="125383"/>
                    </a:lnTo>
                    <a:lnTo>
                      <a:pt x="7018" y="163102"/>
                    </a:lnTo>
                    <a:lnTo>
                      <a:pt x="0" y="215899"/>
                    </a:lnTo>
                    <a:lnTo>
                      <a:pt x="7195" y="268916"/>
                    </a:lnTo>
                    <a:lnTo>
                      <a:pt x="28310" y="306777"/>
                    </a:lnTo>
                    <a:lnTo>
                      <a:pt x="63345" y="329483"/>
                    </a:lnTo>
                    <a:lnTo>
                      <a:pt x="112300" y="337036"/>
                    </a:lnTo>
                    <a:lnTo>
                      <a:pt x="161219" y="329452"/>
                    </a:lnTo>
                    <a:lnTo>
                      <a:pt x="196162" y="306734"/>
                    </a:lnTo>
                    <a:lnTo>
                      <a:pt x="205373" y="290106"/>
                    </a:lnTo>
                    <a:lnTo>
                      <a:pt x="112300" y="290106"/>
                    </a:lnTo>
                    <a:lnTo>
                      <a:pt x="94909" y="288834"/>
                    </a:lnTo>
                    <a:lnTo>
                      <a:pt x="59746" y="269468"/>
                    </a:lnTo>
                    <a:lnTo>
                      <a:pt x="47537" y="215899"/>
                    </a:lnTo>
                    <a:lnTo>
                      <a:pt x="48299" y="198634"/>
                    </a:lnTo>
                    <a:lnTo>
                      <a:pt x="59746" y="162246"/>
                    </a:lnTo>
                    <a:lnTo>
                      <a:pt x="94919" y="143336"/>
                    </a:lnTo>
                    <a:lnTo>
                      <a:pt x="112300" y="142068"/>
                    </a:lnTo>
                    <a:lnTo>
                      <a:pt x="224118" y="142068"/>
                    </a:lnTo>
                    <a:lnTo>
                      <a:pt x="224118" y="0"/>
                    </a:lnTo>
                    <a:close/>
                  </a:path>
                  <a:path w="224155" h="337185">
                    <a:moveTo>
                      <a:pt x="224118" y="142068"/>
                    </a:moveTo>
                    <a:lnTo>
                      <a:pt x="177010" y="142068"/>
                    </a:lnTo>
                    <a:lnTo>
                      <a:pt x="177010" y="215899"/>
                    </a:lnTo>
                    <a:lnTo>
                      <a:pt x="176264" y="233160"/>
                    </a:lnTo>
                    <a:lnTo>
                      <a:pt x="155935" y="278479"/>
                    </a:lnTo>
                    <a:lnTo>
                      <a:pt x="112300" y="290106"/>
                    </a:lnTo>
                    <a:lnTo>
                      <a:pt x="205373" y="290106"/>
                    </a:lnTo>
                    <a:lnTo>
                      <a:pt x="217129" y="268882"/>
                    </a:lnTo>
                    <a:lnTo>
                      <a:pt x="224118" y="215899"/>
                    </a:lnTo>
                    <a:lnTo>
                      <a:pt x="224118" y="142068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18">
                <a:extLst>
                  <a:ext uri="{FF2B5EF4-FFF2-40B4-BE49-F238E27FC236}">
                    <a16:creationId xmlns:a16="http://schemas.microsoft.com/office/drawing/2014/main" xmlns="" id="{90B97F4A-6244-E6F8-11B3-E90AB85A269D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8341749" y="1468684"/>
                <a:ext cx="460443" cy="241386"/>
              </a:xfrm>
              <a:prstGeom prst="rect">
                <a:avLst/>
              </a:prstGeom>
            </p:spPr>
          </p:pic>
          <p:pic>
            <p:nvPicPr>
              <p:cNvPr id="20" name="object 19">
                <a:extLst>
                  <a:ext uri="{FF2B5EF4-FFF2-40B4-BE49-F238E27FC236}">
                    <a16:creationId xmlns:a16="http://schemas.microsoft.com/office/drawing/2014/main" xmlns="" id="{740B21CD-038C-FC1F-5C4A-569F1400187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8837037" y="1468689"/>
                <a:ext cx="224160" cy="241385"/>
              </a:xfrm>
              <a:prstGeom prst="rect">
                <a:avLst/>
              </a:prstGeom>
            </p:spPr>
          </p:pic>
          <p:pic>
            <p:nvPicPr>
              <p:cNvPr id="21" name="object 20">
                <a:extLst>
                  <a:ext uri="{FF2B5EF4-FFF2-40B4-BE49-F238E27FC236}">
                    <a16:creationId xmlns:a16="http://schemas.microsoft.com/office/drawing/2014/main" xmlns="" id="{73D0C53B-EFF6-FCB2-4B8E-F6CD22574B7E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8500083" y="1044583"/>
                <a:ext cx="226370" cy="243814"/>
              </a:xfrm>
              <a:prstGeom prst="rect">
                <a:avLst/>
              </a:prstGeom>
            </p:spPr>
          </p:pic>
          <p:pic>
            <p:nvPicPr>
              <p:cNvPr id="22" name="object 21">
                <a:extLst>
                  <a:ext uri="{FF2B5EF4-FFF2-40B4-BE49-F238E27FC236}">
                    <a16:creationId xmlns:a16="http://schemas.microsoft.com/office/drawing/2014/main" xmlns="" id="{962C392A-7EEE-B259-10C7-A7258C8A71BB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7516270" y="1044411"/>
                <a:ext cx="196203" cy="243982"/>
              </a:xfrm>
              <a:prstGeom prst="rect">
                <a:avLst/>
              </a:prstGeom>
            </p:spPr>
          </p:pic>
          <p:sp>
            <p:nvSpPr>
              <p:cNvPr id="23" name="object 22">
                <a:extLst>
                  <a:ext uri="{FF2B5EF4-FFF2-40B4-BE49-F238E27FC236}">
                    <a16:creationId xmlns:a16="http://schemas.microsoft.com/office/drawing/2014/main" xmlns="" id="{5955F486-CDE6-59CF-4AEF-719CBB87F72D}"/>
                  </a:ext>
                </a:extLst>
              </p:cNvPr>
              <p:cNvSpPr/>
              <p:nvPr/>
            </p:nvSpPr>
            <p:spPr>
              <a:xfrm>
                <a:off x="17749108" y="948417"/>
                <a:ext cx="226695" cy="340360"/>
              </a:xfrm>
              <a:custGeom>
                <a:avLst/>
                <a:gdLst/>
                <a:ahLst/>
                <a:cxnLst/>
                <a:rect l="l" t="t" r="r" b="b"/>
                <a:pathLst>
                  <a:path w="226694" h="340359">
                    <a:moveTo>
                      <a:pt x="47569" y="0"/>
                    </a:moveTo>
                    <a:lnTo>
                      <a:pt x="0" y="0"/>
                    </a:lnTo>
                    <a:lnTo>
                      <a:pt x="27" y="218286"/>
                    </a:lnTo>
                    <a:lnTo>
                      <a:pt x="6901" y="271407"/>
                    </a:lnTo>
                    <a:lnTo>
                      <a:pt x="28029" y="309502"/>
                    </a:lnTo>
                    <a:lnTo>
                      <a:pt x="63385" y="332359"/>
                    </a:lnTo>
                    <a:lnTo>
                      <a:pt x="112970" y="339979"/>
                    </a:lnTo>
                    <a:lnTo>
                      <a:pt x="162603" y="332359"/>
                    </a:lnTo>
                    <a:lnTo>
                      <a:pt x="198020" y="309556"/>
                    </a:lnTo>
                    <a:lnTo>
                      <a:pt x="207413" y="292755"/>
                    </a:lnTo>
                    <a:lnTo>
                      <a:pt x="112970" y="292755"/>
                    </a:lnTo>
                    <a:lnTo>
                      <a:pt x="95406" y="291446"/>
                    </a:lnTo>
                    <a:lnTo>
                      <a:pt x="59914" y="271813"/>
                    </a:lnTo>
                    <a:lnTo>
                      <a:pt x="48340" y="235484"/>
                    </a:lnTo>
                    <a:lnTo>
                      <a:pt x="47569" y="218286"/>
                    </a:lnTo>
                    <a:lnTo>
                      <a:pt x="47569" y="143524"/>
                    </a:lnTo>
                    <a:lnTo>
                      <a:pt x="207416" y="143524"/>
                    </a:lnTo>
                    <a:lnTo>
                      <a:pt x="198043" y="126696"/>
                    </a:lnTo>
                    <a:lnTo>
                      <a:pt x="162600" y="103797"/>
                    </a:lnTo>
                    <a:lnTo>
                      <a:pt x="112970" y="96164"/>
                    </a:lnTo>
                    <a:lnTo>
                      <a:pt x="47569" y="96164"/>
                    </a:lnTo>
                    <a:lnTo>
                      <a:pt x="47569" y="0"/>
                    </a:lnTo>
                    <a:close/>
                  </a:path>
                  <a:path w="226694" h="340359">
                    <a:moveTo>
                      <a:pt x="207416" y="143524"/>
                    </a:moveTo>
                    <a:lnTo>
                      <a:pt x="112970" y="143524"/>
                    </a:lnTo>
                    <a:lnTo>
                      <a:pt x="130531" y="144839"/>
                    </a:lnTo>
                    <a:lnTo>
                      <a:pt x="145300" y="148738"/>
                    </a:lnTo>
                    <a:lnTo>
                      <a:pt x="175714" y="186104"/>
                    </a:lnTo>
                    <a:lnTo>
                      <a:pt x="178800" y="218286"/>
                    </a:lnTo>
                    <a:lnTo>
                      <a:pt x="177913" y="235496"/>
                    </a:lnTo>
                    <a:lnTo>
                      <a:pt x="166330" y="271813"/>
                    </a:lnTo>
                    <a:lnTo>
                      <a:pt x="130553" y="291446"/>
                    </a:lnTo>
                    <a:lnTo>
                      <a:pt x="112970" y="292755"/>
                    </a:lnTo>
                    <a:lnTo>
                      <a:pt x="207413" y="292755"/>
                    </a:lnTo>
                    <a:lnTo>
                      <a:pt x="219282" y="271527"/>
                    </a:lnTo>
                    <a:lnTo>
                      <a:pt x="226370" y="218286"/>
                    </a:lnTo>
                    <a:lnTo>
                      <a:pt x="219300" y="164859"/>
                    </a:lnTo>
                    <a:lnTo>
                      <a:pt x="207416" y="14352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4" name="object 23">
                <a:extLst>
                  <a:ext uri="{FF2B5EF4-FFF2-40B4-BE49-F238E27FC236}">
                    <a16:creationId xmlns:a16="http://schemas.microsoft.com/office/drawing/2014/main" xmlns="" id="{92B78E7D-0AA3-2FAE-7427-11B81F5F3347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7999732" y="1044581"/>
                <a:ext cx="465118" cy="243820"/>
              </a:xfrm>
              <a:prstGeom prst="rect">
                <a:avLst/>
              </a:prstGeom>
            </p:spPr>
          </p:pic>
          <p:pic>
            <p:nvPicPr>
              <p:cNvPr id="25" name="object 24">
                <a:extLst>
                  <a:ext uri="{FF2B5EF4-FFF2-40B4-BE49-F238E27FC236}">
                    <a16:creationId xmlns:a16="http://schemas.microsoft.com/office/drawing/2014/main" xmlns="" id="{734ED80A-4350-711C-4674-022801513F4B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16703765" y="1402267"/>
                <a:ext cx="246201" cy="201941"/>
              </a:xfrm>
              <a:prstGeom prst="rect">
                <a:avLst/>
              </a:prstGeom>
            </p:spPr>
          </p:pic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668" r:id="rId4"/>
    <p:sldLayoutId id="214748366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2.jpg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2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7.sv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3DEAE60C-591C-4E26-9CE0-3C32C8459A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506" b="15536"/>
          <a:stretch/>
        </p:blipFill>
        <p:spPr>
          <a:xfrm>
            <a:off x="1" y="-1017373"/>
            <a:ext cx="20104102" cy="12326326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6F3C41E-CF4B-4BE5-A020-E7397F876C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Slide do think-cell" r:id="rId6" imgW="348" imgH="346" progId="TCLayout.ActiveDocument.1">
                  <p:embed/>
                </p:oleObj>
              </mc:Choice>
              <mc:Fallback>
                <p:oleObj name="Slide do think-cell" r:id="rId6" imgW="348" imgH="34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96F3C41E-CF4B-4BE5-A020-E7397F876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A680E88F-DC17-4DD3-933F-BBC30AFA43B5}"/>
              </a:ext>
            </a:extLst>
          </p:cNvPr>
          <p:cNvSpPr/>
          <p:nvPr/>
        </p:nvSpPr>
        <p:spPr>
          <a:xfrm>
            <a:off x="16519909" y="5754963"/>
            <a:ext cx="152301" cy="152301"/>
          </a:xfrm>
          <a:prstGeom prst="ellipse">
            <a:avLst/>
          </a:prstGeom>
          <a:solidFill>
            <a:srgbClr val="FFE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xmlns="" id="{76DFE8DC-7096-0578-CAF5-CFA9FD8C54C6}"/>
              </a:ext>
            </a:extLst>
          </p:cNvPr>
          <p:cNvSpPr/>
          <p:nvPr/>
        </p:nvSpPr>
        <p:spPr>
          <a:xfrm>
            <a:off x="-15532" y="0"/>
            <a:ext cx="20183217" cy="11308556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968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7883D559-BE0A-477E-A9F2-7767F2E5F1A9}"/>
              </a:ext>
            </a:extLst>
          </p:cNvPr>
          <p:cNvSpPr txBox="1"/>
          <p:nvPr/>
        </p:nvSpPr>
        <p:spPr>
          <a:xfrm>
            <a:off x="11442055" y="2803876"/>
            <a:ext cx="8587764" cy="677986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507846">
              <a:lnSpc>
                <a:spcPct val="70000"/>
              </a:lnSpc>
              <a:defRPr/>
            </a:pPr>
            <a:r>
              <a:rPr lang="en-US" sz="8905" b="1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</a:rPr>
              <a:t>REFORMA TRIBUTÁRIA E SANEAMENTO</a:t>
            </a:r>
          </a:p>
          <a:p>
            <a:pPr defTabSz="1507846">
              <a:lnSpc>
                <a:spcPct val="70000"/>
              </a:lnSpc>
              <a:defRPr/>
            </a:pPr>
            <a:endParaRPr lang="en-US" sz="8905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r>
              <a:rPr lang="pt-BR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iclo de Debates Temáticos sobre Reforma Tributária</a:t>
            </a:r>
          </a:p>
          <a:p>
            <a:pPr defTabSz="1507846">
              <a:lnSpc>
                <a:spcPct val="70000"/>
              </a:lnSpc>
              <a:defRPr/>
            </a:pPr>
            <a:endParaRPr lang="pt-BR" sz="400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r>
              <a:rPr lang="pt-BR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omissão de Assuntos Econômicos</a:t>
            </a:r>
          </a:p>
          <a:p>
            <a:pPr defTabSz="1507846">
              <a:lnSpc>
                <a:spcPct val="70000"/>
              </a:lnSpc>
              <a:defRPr/>
            </a:pPr>
            <a:endParaRPr lang="pt-BR" sz="4000" i="1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endParaRPr lang="pt-BR" sz="3200" i="1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1507846">
              <a:lnSpc>
                <a:spcPct val="70000"/>
              </a:lnSpc>
              <a:defRPr/>
            </a:pPr>
            <a:r>
              <a:rPr lang="pt-BR" sz="3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Brasília, 30 de agosto de 2023.</a:t>
            </a:r>
            <a:endParaRPr lang="en-US" sz="8905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xmlns="" id="{D4F07B81-E903-BC68-C5EF-EBD228EB2CD5}"/>
              </a:ext>
            </a:extLst>
          </p:cNvPr>
          <p:cNvGrpSpPr>
            <a:grpSpLocks noChangeAspect="1"/>
          </p:cNvGrpSpPr>
          <p:nvPr/>
        </p:nvGrpSpPr>
        <p:grpSpPr>
          <a:xfrm>
            <a:off x="11442054" y="9821731"/>
            <a:ext cx="4574624" cy="624419"/>
            <a:chOff x="5516224" y="1909393"/>
            <a:chExt cx="9071676" cy="1238250"/>
          </a:xfrm>
        </p:grpSpPr>
        <p:sp>
          <p:nvSpPr>
            <p:cNvPr id="15" name="object 12">
              <a:extLst>
                <a:ext uri="{FF2B5EF4-FFF2-40B4-BE49-F238E27FC236}">
                  <a16:creationId xmlns:a16="http://schemas.microsoft.com/office/drawing/2014/main" xmlns="" id="{1EA1BD2D-8D6D-A7AD-EE0A-525154ADA90D}"/>
                </a:ext>
              </a:extLst>
            </p:cNvPr>
            <p:cNvSpPr/>
            <p:nvPr/>
          </p:nvSpPr>
          <p:spPr>
            <a:xfrm>
              <a:off x="10429477" y="2332130"/>
              <a:ext cx="521970" cy="652780"/>
            </a:xfrm>
            <a:custGeom>
              <a:avLst/>
              <a:gdLst/>
              <a:ahLst/>
              <a:cxnLst/>
              <a:rect l="l" t="t" r="r" b="b"/>
              <a:pathLst>
                <a:path w="521970" h="652780">
                  <a:moveTo>
                    <a:pt x="260777" y="0"/>
                  </a:moveTo>
                  <a:lnTo>
                    <a:pt x="199655" y="3042"/>
                  </a:lnTo>
                  <a:lnTo>
                    <a:pt x="146684" y="12168"/>
                  </a:lnTo>
                  <a:lnTo>
                    <a:pt x="101863" y="27379"/>
                  </a:lnTo>
                  <a:lnTo>
                    <a:pt x="65191" y="48673"/>
                  </a:lnTo>
                  <a:lnTo>
                    <a:pt x="36669" y="76052"/>
                  </a:lnTo>
                  <a:lnTo>
                    <a:pt x="16297" y="109516"/>
                  </a:lnTo>
                  <a:lnTo>
                    <a:pt x="4074" y="149063"/>
                  </a:lnTo>
                  <a:lnTo>
                    <a:pt x="0" y="194695"/>
                  </a:lnTo>
                  <a:lnTo>
                    <a:pt x="5797" y="248201"/>
                  </a:lnTo>
                  <a:lnTo>
                    <a:pt x="23190" y="292930"/>
                  </a:lnTo>
                  <a:lnTo>
                    <a:pt x="52178" y="328884"/>
                  </a:lnTo>
                  <a:lnTo>
                    <a:pt x="92761" y="356062"/>
                  </a:lnTo>
                  <a:lnTo>
                    <a:pt x="159991" y="377132"/>
                  </a:lnTo>
                  <a:lnTo>
                    <a:pt x="204859" y="384233"/>
                  </a:lnTo>
                  <a:lnTo>
                    <a:pt x="257227" y="389045"/>
                  </a:lnTo>
                  <a:lnTo>
                    <a:pt x="298284" y="392593"/>
                  </a:lnTo>
                  <a:lnTo>
                    <a:pt x="331267" y="397062"/>
                  </a:lnTo>
                  <a:lnTo>
                    <a:pt x="373014" y="408856"/>
                  </a:lnTo>
                  <a:lnTo>
                    <a:pt x="394888" y="457075"/>
                  </a:lnTo>
                  <a:lnTo>
                    <a:pt x="394560" y="469170"/>
                  </a:lnTo>
                  <a:lnTo>
                    <a:pt x="359575" y="511148"/>
                  </a:lnTo>
                  <a:lnTo>
                    <a:pt x="300995" y="523516"/>
                  </a:lnTo>
                  <a:lnTo>
                    <a:pt x="260777" y="525104"/>
                  </a:lnTo>
                  <a:lnTo>
                    <a:pt x="220569" y="523586"/>
                  </a:lnTo>
                  <a:lnTo>
                    <a:pt x="162105" y="511107"/>
                  </a:lnTo>
                  <a:lnTo>
                    <a:pt x="130121" y="480342"/>
                  </a:lnTo>
                  <a:lnTo>
                    <a:pt x="126666" y="456499"/>
                  </a:lnTo>
                  <a:lnTo>
                    <a:pt x="0" y="456499"/>
                  </a:lnTo>
                  <a:lnTo>
                    <a:pt x="4045" y="502399"/>
                  </a:lnTo>
                  <a:lnTo>
                    <a:pt x="16244" y="542180"/>
                  </a:lnTo>
                  <a:lnTo>
                    <a:pt x="36596" y="575842"/>
                  </a:lnTo>
                  <a:lnTo>
                    <a:pt x="65102" y="603383"/>
                  </a:lnTo>
                  <a:lnTo>
                    <a:pt x="101762" y="624804"/>
                  </a:lnTo>
                  <a:lnTo>
                    <a:pt x="146575" y="640105"/>
                  </a:lnTo>
                  <a:lnTo>
                    <a:pt x="199542" y="649286"/>
                  </a:lnTo>
                  <a:lnTo>
                    <a:pt x="260662" y="652346"/>
                  </a:lnTo>
                  <a:lnTo>
                    <a:pt x="321783" y="649304"/>
                  </a:lnTo>
                  <a:lnTo>
                    <a:pt x="374755" y="640178"/>
                  </a:lnTo>
                  <a:lnTo>
                    <a:pt x="419576" y="624967"/>
                  </a:lnTo>
                  <a:lnTo>
                    <a:pt x="456247" y="603672"/>
                  </a:lnTo>
                  <a:lnTo>
                    <a:pt x="484769" y="576293"/>
                  </a:lnTo>
                  <a:lnTo>
                    <a:pt x="505142" y="542830"/>
                  </a:lnTo>
                  <a:lnTo>
                    <a:pt x="517365" y="503282"/>
                  </a:lnTo>
                  <a:lnTo>
                    <a:pt x="521439" y="457650"/>
                  </a:lnTo>
                  <a:lnTo>
                    <a:pt x="515714" y="404494"/>
                  </a:lnTo>
                  <a:lnTo>
                    <a:pt x="498537" y="359900"/>
                  </a:lnTo>
                  <a:lnTo>
                    <a:pt x="469906" y="323865"/>
                  </a:lnTo>
                  <a:lnTo>
                    <a:pt x="429819" y="296388"/>
                  </a:lnTo>
                  <a:lnTo>
                    <a:pt x="361873" y="275263"/>
                  </a:lnTo>
                  <a:lnTo>
                    <a:pt x="317146" y="268176"/>
                  </a:lnTo>
                  <a:lnTo>
                    <a:pt x="265248" y="263405"/>
                  </a:lnTo>
                  <a:lnTo>
                    <a:pt x="224108" y="259864"/>
                  </a:lnTo>
                  <a:lnTo>
                    <a:pt x="191271" y="255578"/>
                  </a:lnTo>
                  <a:lnTo>
                    <a:pt x="150717" y="244736"/>
                  </a:lnTo>
                  <a:lnTo>
                    <a:pt x="128395" y="212271"/>
                  </a:lnTo>
                  <a:lnTo>
                    <a:pt x="126896" y="195261"/>
                  </a:lnTo>
                  <a:lnTo>
                    <a:pt x="127260" y="183170"/>
                  </a:lnTo>
                  <a:lnTo>
                    <a:pt x="162331" y="141217"/>
                  </a:lnTo>
                  <a:lnTo>
                    <a:pt x="220799" y="128786"/>
                  </a:lnTo>
                  <a:lnTo>
                    <a:pt x="261007" y="127231"/>
                  </a:lnTo>
                  <a:lnTo>
                    <a:pt x="301211" y="128727"/>
                  </a:lnTo>
                  <a:lnTo>
                    <a:pt x="359677" y="140695"/>
                  </a:lnTo>
                  <a:lnTo>
                    <a:pt x="391543" y="170629"/>
                  </a:lnTo>
                  <a:lnTo>
                    <a:pt x="395003" y="194119"/>
                  </a:lnTo>
                  <a:lnTo>
                    <a:pt x="521785" y="194119"/>
                  </a:lnTo>
                  <a:lnTo>
                    <a:pt x="517655" y="148620"/>
                  </a:lnTo>
                  <a:lnTo>
                    <a:pt x="505383" y="109189"/>
                  </a:lnTo>
                  <a:lnTo>
                    <a:pt x="484970" y="75824"/>
                  </a:lnTo>
                  <a:lnTo>
                    <a:pt x="456415" y="48527"/>
                  </a:lnTo>
                  <a:lnTo>
                    <a:pt x="419718" y="27296"/>
                  </a:lnTo>
                  <a:lnTo>
                    <a:pt x="374879" y="12131"/>
                  </a:lnTo>
                  <a:lnTo>
                    <a:pt x="321899" y="3032"/>
                  </a:lnTo>
                  <a:lnTo>
                    <a:pt x="260777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xmlns="" id="{B3E2482F-E07E-BD81-30FC-B0AD5D937741}"/>
                </a:ext>
              </a:extLst>
            </p:cNvPr>
            <p:cNvSpPr/>
            <p:nvPr/>
          </p:nvSpPr>
          <p:spPr>
            <a:xfrm>
              <a:off x="11034187" y="2076617"/>
              <a:ext cx="127000" cy="126364"/>
            </a:xfrm>
            <a:custGeom>
              <a:avLst/>
              <a:gdLst/>
              <a:ahLst/>
              <a:cxnLst/>
              <a:rect l="l" t="t" r="r" b="b"/>
              <a:pathLst>
                <a:path w="127000" h="126364">
                  <a:moveTo>
                    <a:pt x="126666" y="0"/>
                  </a:moveTo>
                  <a:lnTo>
                    <a:pt x="0" y="0"/>
                  </a:lnTo>
                  <a:lnTo>
                    <a:pt x="0" y="125975"/>
                  </a:lnTo>
                  <a:lnTo>
                    <a:pt x="126666" y="125975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7" name="object 14">
              <a:extLst>
                <a:ext uri="{FF2B5EF4-FFF2-40B4-BE49-F238E27FC236}">
                  <a16:creationId xmlns:a16="http://schemas.microsoft.com/office/drawing/2014/main" xmlns="" id="{CC36AE7C-9DEB-60A0-B831-49B82A8D1253}"/>
                </a:ext>
              </a:extLst>
            </p:cNvPr>
            <p:cNvSpPr/>
            <p:nvPr/>
          </p:nvSpPr>
          <p:spPr>
            <a:xfrm>
              <a:off x="11034176" y="2332578"/>
              <a:ext cx="127000" cy="650240"/>
            </a:xfrm>
            <a:custGeom>
              <a:avLst/>
              <a:gdLst/>
              <a:ahLst/>
              <a:cxnLst/>
              <a:rect l="l" t="t" r="r" b="b"/>
              <a:pathLst>
                <a:path w="127000" h="650239">
                  <a:moveTo>
                    <a:pt x="126666" y="0"/>
                  </a:moveTo>
                  <a:lnTo>
                    <a:pt x="0" y="0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xmlns="" id="{1D75D3BD-AD9F-3E6E-4F03-8E026E62D4BE}"/>
                </a:ext>
              </a:extLst>
            </p:cNvPr>
            <p:cNvSpPr/>
            <p:nvPr/>
          </p:nvSpPr>
          <p:spPr>
            <a:xfrm>
              <a:off x="11259572" y="2332580"/>
              <a:ext cx="603885" cy="650240"/>
            </a:xfrm>
            <a:custGeom>
              <a:avLst/>
              <a:gdLst/>
              <a:ahLst/>
              <a:cxnLst/>
              <a:rect l="l" t="t" r="r" b="b"/>
              <a:pathLst>
                <a:path w="603884" h="650239">
                  <a:moveTo>
                    <a:pt x="302242" y="0"/>
                  </a:moveTo>
                  <a:lnTo>
                    <a:pt x="249787" y="2690"/>
                  </a:lnTo>
                  <a:lnTo>
                    <a:pt x="202328" y="10760"/>
                  </a:lnTo>
                  <a:lnTo>
                    <a:pt x="159865" y="24210"/>
                  </a:lnTo>
                  <a:lnTo>
                    <a:pt x="122397" y="43040"/>
                  </a:lnTo>
                  <a:lnTo>
                    <a:pt x="89924" y="67250"/>
                  </a:lnTo>
                  <a:lnTo>
                    <a:pt x="62447" y="96840"/>
                  </a:lnTo>
                  <a:lnTo>
                    <a:pt x="39966" y="131810"/>
                  </a:lnTo>
                  <a:lnTo>
                    <a:pt x="22481" y="172160"/>
                  </a:lnTo>
                  <a:lnTo>
                    <a:pt x="9991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781" y="649718"/>
                  </a:lnTo>
                  <a:lnTo>
                    <a:pt x="126781" y="325487"/>
                  </a:lnTo>
                  <a:lnTo>
                    <a:pt x="128842" y="279241"/>
                  </a:lnTo>
                  <a:lnTo>
                    <a:pt x="135027" y="239910"/>
                  </a:lnTo>
                  <a:lnTo>
                    <a:pt x="159764" y="181983"/>
                  </a:lnTo>
                  <a:lnTo>
                    <a:pt x="215999" y="140584"/>
                  </a:lnTo>
                  <a:lnTo>
                    <a:pt x="255370" y="130232"/>
                  </a:lnTo>
                  <a:lnTo>
                    <a:pt x="302242" y="126781"/>
                  </a:lnTo>
                  <a:lnTo>
                    <a:pt x="349047" y="130195"/>
                  </a:lnTo>
                  <a:lnTo>
                    <a:pt x="388221" y="140439"/>
                  </a:lnTo>
                  <a:lnTo>
                    <a:pt x="443682" y="181418"/>
                  </a:lnTo>
                  <a:lnTo>
                    <a:pt x="468335" y="239281"/>
                  </a:lnTo>
                  <a:lnTo>
                    <a:pt x="474497" y="278629"/>
                  </a:lnTo>
                  <a:lnTo>
                    <a:pt x="476550" y="324922"/>
                  </a:lnTo>
                  <a:lnTo>
                    <a:pt x="476550" y="649718"/>
                  </a:lnTo>
                  <a:lnTo>
                    <a:pt x="603332" y="649718"/>
                  </a:lnTo>
                  <a:lnTo>
                    <a:pt x="603332" y="325487"/>
                  </a:lnTo>
                  <a:lnTo>
                    <a:pt x="601033" y="268998"/>
                  </a:lnTo>
                  <a:lnTo>
                    <a:pt x="593720" y="217889"/>
                  </a:lnTo>
                  <a:lnTo>
                    <a:pt x="581392" y="172160"/>
                  </a:lnTo>
                  <a:lnTo>
                    <a:pt x="564049" y="131810"/>
                  </a:lnTo>
                  <a:lnTo>
                    <a:pt x="541692" y="96840"/>
                  </a:lnTo>
                  <a:lnTo>
                    <a:pt x="514320" y="67250"/>
                  </a:lnTo>
                  <a:lnTo>
                    <a:pt x="481933" y="43040"/>
                  </a:lnTo>
                  <a:lnTo>
                    <a:pt x="444532" y="24210"/>
                  </a:lnTo>
                  <a:lnTo>
                    <a:pt x="402117" y="10760"/>
                  </a:lnTo>
                  <a:lnTo>
                    <a:pt x="354686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xmlns="" id="{B4F7DB83-052E-DFF7-6EC6-0C24DBD557C1}"/>
                </a:ext>
              </a:extLst>
            </p:cNvPr>
            <p:cNvSpPr/>
            <p:nvPr/>
          </p:nvSpPr>
          <p:spPr>
            <a:xfrm>
              <a:off x="11952696" y="2076384"/>
              <a:ext cx="603885" cy="907415"/>
            </a:xfrm>
            <a:custGeom>
              <a:avLst/>
              <a:gdLst/>
              <a:ahLst/>
              <a:cxnLst/>
              <a:rect l="l" t="t" r="r" b="b"/>
              <a:pathLst>
                <a:path w="603884" h="907414">
                  <a:moveTo>
                    <a:pt x="603562" y="0"/>
                  </a:moveTo>
                  <a:lnTo>
                    <a:pt x="476550" y="0"/>
                  </a:lnTo>
                  <a:lnTo>
                    <a:pt x="476550" y="256201"/>
                  </a:lnTo>
                  <a:lnTo>
                    <a:pt x="302242" y="256201"/>
                  </a:lnTo>
                  <a:lnTo>
                    <a:pt x="249787" y="258904"/>
                  </a:lnTo>
                  <a:lnTo>
                    <a:pt x="202328" y="266974"/>
                  </a:lnTo>
                  <a:lnTo>
                    <a:pt x="159865" y="280411"/>
                  </a:lnTo>
                  <a:lnTo>
                    <a:pt x="122397" y="299215"/>
                  </a:lnTo>
                  <a:lnTo>
                    <a:pt x="89924" y="323385"/>
                  </a:lnTo>
                  <a:lnTo>
                    <a:pt x="62447" y="352922"/>
                  </a:lnTo>
                  <a:lnTo>
                    <a:pt x="39966" y="387826"/>
                  </a:lnTo>
                  <a:lnTo>
                    <a:pt x="22481" y="428097"/>
                  </a:lnTo>
                  <a:lnTo>
                    <a:pt x="9991" y="473735"/>
                  </a:lnTo>
                  <a:lnTo>
                    <a:pt x="2497" y="524740"/>
                  </a:lnTo>
                  <a:lnTo>
                    <a:pt x="0" y="581113"/>
                  </a:lnTo>
                  <a:lnTo>
                    <a:pt x="2765" y="637720"/>
                  </a:lnTo>
                  <a:lnTo>
                    <a:pt x="10479" y="688935"/>
                  </a:lnTo>
                  <a:lnTo>
                    <a:pt x="23142" y="734756"/>
                  </a:lnTo>
                  <a:lnTo>
                    <a:pt x="40753" y="775185"/>
                  </a:lnTo>
                  <a:lnTo>
                    <a:pt x="63312" y="810220"/>
                  </a:lnTo>
                  <a:lnTo>
                    <a:pt x="90820" y="839862"/>
                  </a:lnTo>
                  <a:lnTo>
                    <a:pt x="123275" y="864111"/>
                  </a:lnTo>
                  <a:lnTo>
                    <a:pt x="160679" y="882967"/>
                  </a:lnTo>
                  <a:lnTo>
                    <a:pt x="203030" y="896430"/>
                  </a:lnTo>
                  <a:lnTo>
                    <a:pt x="250330" y="904500"/>
                  </a:lnTo>
                  <a:lnTo>
                    <a:pt x="302577" y="907176"/>
                  </a:lnTo>
                  <a:lnTo>
                    <a:pt x="354813" y="904461"/>
                  </a:lnTo>
                  <a:lnTo>
                    <a:pt x="402075" y="896361"/>
                  </a:lnTo>
                  <a:lnTo>
                    <a:pt x="444362" y="882875"/>
                  </a:lnTo>
                  <a:lnTo>
                    <a:pt x="481674" y="864005"/>
                  </a:lnTo>
                  <a:lnTo>
                    <a:pt x="514011" y="839749"/>
                  </a:lnTo>
                  <a:lnTo>
                    <a:pt x="541374" y="810107"/>
                  </a:lnTo>
                  <a:lnTo>
                    <a:pt x="559709" y="781421"/>
                  </a:lnTo>
                  <a:lnTo>
                    <a:pt x="302577" y="781421"/>
                  </a:lnTo>
                  <a:lnTo>
                    <a:pt x="255825" y="777991"/>
                  </a:lnTo>
                  <a:lnTo>
                    <a:pt x="216687" y="767590"/>
                  </a:lnTo>
                  <a:lnTo>
                    <a:pt x="161251" y="725873"/>
                  </a:lnTo>
                  <a:lnTo>
                    <a:pt x="136658" y="667665"/>
                  </a:lnTo>
                  <a:lnTo>
                    <a:pt x="130479" y="628148"/>
                  </a:lnTo>
                  <a:lnTo>
                    <a:pt x="128383" y="581689"/>
                  </a:lnTo>
                  <a:lnTo>
                    <a:pt x="130396" y="535209"/>
                  </a:lnTo>
                  <a:lnTo>
                    <a:pt x="136544" y="495647"/>
                  </a:lnTo>
                  <a:lnTo>
                    <a:pt x="161251" y="437264"/>
                  </a:lnTo>
                  <a:lnTo>
                    <a:pt x="216687" y="396553"/>
                  </a:lnTo>
                  <a:lnTo>
                    <a:pt x="255825" y="386375"/>
                  </a:lnTo>
                  <a:lnTo>
                    <a:pt x="302577" y="382983"/>
                  </a:lnTo>
                  <a:lnTo>
                    <a:pt x="603562" y="382983"/>
                  </a:lnTo>
                  <a:lnTo>
                    <a:pt x="603562" y="0"/>
                  </a:lnTo>
                  <a:close/>
                </a:path>
                <a:path w="603884" h="907414">
                  <a:moveTo>
                    <a:pt x="603562" y="382983"/>
                  </a:moveTo>
                  <a:lnTo>
                    <a:pt x="476896" y="382983"/>
                  </a:lnTo>
                  <a:lnTo>
                    <a:pt x="476870" y="581689"/>
                  </a:lnTo>
                  <a:lnTo>
                    <a:pt x="474835" y="627525"/>
                  </a:lnTo>
                  <a:lnTo>
                    <a:pt x="468650" y="667122"/>
                  </a:lnTo>
                  <a:lnTo>
                    <a:pt x="443913" y="725873"/>
                  </a:lnTo>
                  <a:lnTo>
                    <a:pt x="388476" y="767480"/>
                  </a:lnTo>
                  <a:lnTo>
                    <a:pt x="349335" y="777908"/>
                  </a:lnTo>
                  <a:lnTo>
                    <a:pt x="302577" y="781421"/>
                  </a:lnTo>
                  <a:lnTo>
                    <a:pt x="559709" y="781421"/>
                  </a:lnTo>
                  <a:lnTo>
                    <a:pt x="581174" y="734667"/>
                  </a:lnTo>
                  <a:lnTo>
                    <a:pt x="593612" y="688869"/>
                  </a:lnTo>
                  <a:lnTo>
                    <a:pt x="601075" y="637684"/>
                  </a:lnTo>
                  <a:lnTo>
                    <a:pt x="603537" y="581689"/>
                  </a:lnTo>
                  <a:lnTo>
                    <a:pt x="603562" y="382983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xmlns="" id="{C195ADB3-7FAC-14B4-CC52-A4B518E73D72}"/>
                </a:ext>
              </a:extLst>
            </p:cNvPr>
            <p:cNvSpPr/>
            <p:nvPr/>
          </p:nvSpPr>
          <p:spPr>
            <a:xfrm>
              <a:off x="12651313" y="2332580"/>
              <a:ext cx="588010" cy="650240"/>
            </a:xfrm>
            <a:custGeom>
              <a:avLst/>
              <a:gdLst/>
              <a:ahLst/>
              <a:cxnLst/>
              <a:rect l="l" t="t" r="r" b="b"/>
              <a:pathLst>
                <a:path w="588009" h="650239">
                  <a:moveTo>
                    <a:pt x="301100" y="0"/>
                  </a:moveTo>
                  <a:lnTo>
                    <a:pt x="248842" y="2471"/>
                  </a:lnTo>
                  <a:lnTo>
                    <a:pt x="201562" y="10344"/>
                  </a:lnTo>
                  <a:lnTo>
                    <a:pt x="159258" y="23618"/>
                  </a:lnTo>
                  <a:lnTo>
                    <a:pt x="121931" y="42292"/>
                  </a:lnTo>
                  <a:lnTo>
                    <a:pt x="89582" y="66367"/>
                  </a:lnTo>
                  <a:lnTo>
                    <a:pt x="62209" y="95843"/>
                  </a:lnTo>
                  <a:lnTo>
                    <a:pt x="39814" y="130720"/>
                  </a:lnTo>
                  <a:lnTo>
                    <a:pt x="22395" y="170997"/>
                  </a:lnTo>
                  <a:lnTo>
                    <a:pt x="9953" y="216674"/>
                  </a:lnTo>
                  <a:lnTo>
                    <a:pt x="2488" y="267752"/>
                  </a:lnTo>
                  <a:lnTo>
                    <a:pt x="0" y="324230"/>
                  </a:lnTo>
                  <a:lnTo>
                    <a:pt x="2488" y="380719"/>
                  </a:lnTo>
                  <a:lnTo>
                    <a:pt x="9953" y="431828"/>
                  </a:lnTo>
                  <a:lnTo>
                    <a:pt x="22395" y="477558"/>
                  </a:lnTo>
                  <a:lnTo>
                    <a:pt x="39814" y="517907"/>
                  </a:lnTo>
                  <a:lnTo>
                    <a:pt x="62209" y="552877"/>
                  </a:lnTo>
                  <a:lnTo>
                    <a:pt x="89582" y="582467"/>
                  </a:lnTo>
                  <a:lnTo>
                    <a:pt x="121931" y="606677"/>
                  </a:lnTo>
                  <a:lnTo>
                    <a:pt x="159258" y="625508"/>
                  </a:lnTo>
                  <a:lnTo>
                    <a:pt x="201562" y="638958"/>
                  </a:lnTo>
                  <a:lnTo>
                    <a:pt x="248842" y="647028"/>
                  </a:lnTo>
                  <a:lnTo>
                    <a:pt x="301100" y="649718"/>
                  </a:lnTo>
                  <a:lnTo>
                    <a:pt x="356757" y="646615"/>
                  </a:lnTo>
                  <a:lnTo>
                    <a:pt x="406737" y="637306"/>
                  </a:lnTo>
                  <a:lnTo>
                    <a:pt x="451041" y="621791"/>
                  </a:lnTo>
                  <a:lnTo>
                    <a:pt x="489669" y="600070"/>
                  </a:lnTo>
                  <a:lnTo>
                    <a:pt x="522621" y="572143"/>
                  </a:lnTo>
                  <a:lnTo>
                    <a:pt x="549896" y="538011"/>
                  </a:lnTo>
                  <a:lnTo>
                    <a:pt x="571494" y="497672"/>
                  </a:lnTo>
                  <a:lnTo>
                    <a:pt x="587416" y="451127"/>
                  </a:lnTo>
                  <a:lnTo>
                    <a:pt x="453996" y="451127"/>
                  </a:lnTo>
                  <a:lnTo>
                    <a:pt x="430299" y="482744"/>
                  </a:lnTo>
                  <a:lnTo>
                    <a:pt x="397012" y="505328"/>
                  </a:lnTo>
                  <a:lnTo>
                    <a:pt x="354135" y="518880"/>
                  </a:lnTo>
                  <a:lnTo>
                    <a:pt x="301666" y="523397"/>
                  </a:lnTo>
                  <a:lnTo>
                    <a:pt x="254826" y="519940"/>
                  </a:lnTo>
                  <a:lnTo>
                    <a:pt x="215658" y="509568"/>
                  </a:lnTo>
                  <a:lnTo>
                    <a:pt x="160340" y="468079"/>
                  </a:lnTo>
                  <a:lnTo>
                    <a:pt x="135173" y="410382"/>
                  </a:lnTo>
                  <a:lnTo>
                    <a:pt x="128879" y="371079"/>
                  </a:lnTo>
                  <a:lnTo>
                    <a:pt x="126781" y="324806"/>
                  </a:lnTo>
                  <a:lnTo>
                    <a:pt x="128842" y="278492"/>
                  </a:lnTo>
                  <a:lnTo>
                    <a:pt x="135027" y="239080"/>
                  </a:lnTo>
                  <a:lnTo>
                    <a:pt x="159764" y="180957"/>
                  </a:lnTo>
                  <a:lnTo>
                    <a:pt x="215142" y="140326"/>
                  </a:lnTo>
                  <a:lnTo>
                    <a:pt x="254300" y="130167"/>
                  </a:lnTo>
                  <a:lnTo>
                    <a:pt x="301100" y="126781"/>
                  </a:lnTo>
                  <a:lnTo>
                    <a:pt x="354040" y="131191"/>
                  </a:lnTo>
                  <a:lnTo>
                    <a:pt x="397074" y="144419"/>
                  </a:lnTo>
                  <a:lnTo>
                    <a:pt x="430200" y="166467"/>
                  </a:lnTo>
                  <a:lnTo>
                    <a:pt x="453420" y="197334"/>
                  </a:lnTo>
                  <a:lnTo>
                    <a:pt x="587416" y="197334"/>
                  </a:lnTo>
                  <a:lnTo>
                    <a:pt x="571494" y="151084"/>
                  </a:lnTo>
                  <a:lnTo>
                    <a:pt x="549896" y="111000"/>
                  </a:lnTo>
                  <a:lnTo>
                    <a:pt x="522621" y="77083"/>
                  </a:lnTo>
                  <a:lnTo>
                    <a:pt x="489669" y="49333"/>
                  </a:lnTo>
                  <a:lnTo>
                    <a:pt x="451041" y="27750"/>
                  </a:lnTo>
                  <a:lnTo>
                    <a:pt x="406737" y="12333"/>
                  </a:lnTo>
                  <a:lnTo>
                    <a:pt x="356757" y="3083"/>
                  </a:lnTo>
                  <a:lnTo>
                    <a:pt x="301100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xmlns="" id="{D7FDB79F-8750-F523-DC3B-498835CC6920}"/>
                </a:ext>
              </a:extLst>
            </p:cNvPr>
            <p:cNvSpPr/>
            <p:nvPr/>
          </p:nvSpPr>
          <p:spPr>
            <a:xfrm>
              <a:off x="13287519" y="2332583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2705" y="381758"/>
                  </a:lnTo>
                  <a:lnTo>
                    <a:pt x="10365" y="432669"/>
                  </a:lnTo>
                  <a:lnTo>
                    <a:pt x="22979" y="478222"/>
                  </a:lnTo>
                  <a:lnTo>
                    <a:pt x="40548" y="518416"/>
                  </a:lnTo>
                  <a:lnTo>
                    <a:pt x="63070" y="553251"/>
                  </a:lnTo>
                  <a:lnTo>
                    <a:pt x="90547" y="582727"/>
                  </a:lnTo>
                  <a:lnTo>
                    <a:pt x="122978" y="606844"/>
                  </a:lnTo>
                  <a:lnTo>
                    <a:pt x="160363" y="625601"/>
                  </a:lnTo>
                  <a:lnTo>
                    <a:pt x="202702" y="638999"/>
                  </a:lnTo>
                  <a:lnTo>
                    <a:pt x="249995" y="647038"/>
                  </a:lnTo>
                  <a:lnTo>
                    <a:pt x="302242" y="649718"/>
                  </a:lnTo>
                  <a:lnTo>
                    <a:pt x="354475" y="647038"/>
                  </a:lnTo>
                  <a:lnTo>
                    <a:pt x="401735" y="638999"/>
                  </a:lnTo>
                  <a:lnTo>
                    <a:pt x="444020" y="625601"/>
                  </a:lnTo>
                  <a:lnTo>
                    <a:pt x="481331" y="606844"/>
                  </a:lnTo>
                  <a:lnTo>
                    <a:pt x="513668" y="582727"/>
                  </a:lnTo>
                  <a:lnTo>
                    <a:pt x="541029" y="553251"/>
                  </a:lnTo>
                  <a:lnTo>
                    <a:pt x="560222" y="523387"/>
                  </a:lnTo>
                  <a:lnTo>
                    <a:pt x="302242" y="523387"/>
                  </a:lnTo>
                  <a:lnTo>
                    <a:pt x="255484" y="520055"/>
                  </a:lnTo>
                  <a:lnTo>
                    <a:pt x="216342" y="509936"/>
                  </a:lnTo>
                  <a:lnTo>
                    <a:pt x="160906" y="469336"/>
                  </a:lnTo>
                  <a:lnTo>
                    <a:pt x="136168" y="411323"/>
                  </a:lnTo>
                  <a:lnTo>
                    <a:pt x="129984" y="371884"/>
                  </a:lnTo>
                  <a:lnTo>
                    <a:pt x="127922" y="325487"/>
                  </a:lnTo>
                  <a:lnTo>
                    <a:pt x="129984" y="279090"/>
                  </a:lnTo>
                  <a:lnTo>
                    <a:pt x="136168" y="239651"/>
                  </a:lnTo>
                  <a:lnTo>
                    <a:pt x="160906" y="181638"/>
                  </a:lnTo>
                  <a:lnTo>
                    <a:pt x="216342" y="140065"/>
                  </a:lnTo>
                  <a:lnTo>
                    <a:pt x="255484" y="129670"/>
                  </a:lnTo>
                  <a:lnTo>
                    <a:pt x="302242" y="126205"/>
                  </a:lnTo>
                  <a:lnTo>
                    <a:pt x="560419" y="126205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  <a:path w="603250" h="650239">
                  <a:moveTo>
                    <a:pt x="560419" y="126205"/>
                  </a:moveTo>
                  <a:lnTo>
                    <a:pt x="302242" y="126205"/>
                  </a:lnTo>
                  <a:lnTo>
                    <a:pt x="348993" y="129670"/>
                  </a:lnTo>
                  <a:lnTo>
                    <a:pt x="388132" y="140065"/>
                  </a:lnTo>
                  <a:lnTo>
                    <a:pt x="443567" y="181638"/>
                  </a:lnTo>
                  <a:lnTo>
                    <a:pt x="468305" y="239706"/>
                  </a:lnTo>
                  <a:lnTo>
                    <a:pt x="474489" y="279132"/>
                  </a:lnTo>
                  <a:lnTo>
                    <a:pt x="476550" y="325487"/>
                  </a:lnTo>
                  <a:lnTo>
                    <a:pt x="474489" y="371626"/>
                  </a:lnTo>
                  <a:lnTo>
                    <a:pt x="468305" y="410982"/>
                  </a:lnTo>
                  <a:lnTo>
                    <a:pt x="443567" y="469336"/>
                  </a:lnTo>
                  <a:lnTo>
                    <a:pt x="388132" y="509818"/>
                  </a:lnTo>
                  <a:lnTo>
                    <a:pt x="348993" y="519967"/>
                  </a:lnTo>
                  <a:lnTo>
                    <a:pt x="302242" y="523387"/>
                  </a:lnTo>
                  <a:lnTo>
                    <a:pt x="560222" y="523387"/>
                  </a:lnTo>
                  <a:lnTo>
                    <a:pt x="580829" y="478222"/>
                  </a:lnTo>
                  <a:lnTo>
                    <a:pt x="593267" y="432669"/>
                  </a:lnTo>
                  <a:lnTo>
                    <a:pt x="600729" y="38175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60419" y="126205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xmlns="" id="{7414E1F2-F692-6230-F9DB-D6A224EE16FB}"/>
                </a:ext>
              </a:extLst>
            </p:cNvPr>
            <p:cNvSpPr/>
            <p:nvPr/>
          </p:nvSpPr>
          <p:spPr>
            <a:xfrm>
              <a:off x="13984650" y="2332580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325487"/>
                  </a:lnTo>
                  <a:lnTo>
                    <a:pt x="128727" y="279241"/>
                  </a:lnTo>
                  <a:lnTo>
                    <a:pt x="134912" y="239910"/>
                  </a:lnTo>
                  <a:lnTo>
                    <a:pt x="159649" y="181983"/>
                  </a:lnTo>
                  <a:lnTo>
                    <a:pt x="216028" y="140584"/>
                  </a:lnTo>
                  <a:lnTo>
                    <a:pt x="255405" y="130232"/>
                  </a:lnTo>
                  <a:lnTo>
                    <a:pt x="302242" y="126781"/>
                  </a:lnTo>
                  <a:lnTo>
                    <a:pt x="348980" y="130195"/>
                  </a:lnTo>
                  <a:lnTo>
                    <a:pt x="388075" y="140439"/>
                  </a:lnTo>
                  <a:lnTo>
                    <a:pt x="443337" y="181418"/>
                  </a:lnTo>
                  <a:lnTo>
                    <a:pt x="467989" y="239281"/>
                  </a:lnTo>
                  <a:lnTo>
                    <a:pt x="474151" y="278629"/>
                  </a:lnTo>
                  <a:lnTo>
                    <a:pt x="476205" y="324922"/>
                  </a:lnTo>
                  <a:lnTo>
                    <a:pt x="476205" y="649718"/>
                  </a:lnTo>
                  <a:lnTo>
                    <a:pt x="603217" y="64971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xmlns="" id="{A4BBA795-38BB-CF29-6CD7-0D91E79A6238}"/>
                </a:ext>
              </a:extLst>
            </p:cNvPr>
            <p:cNvSpPr/>
            <p:nvPr/>
          </p:nvSpPr>
          <p:spPr>
            <a:xfrm>
              <a:off x="9591357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215" y="0"/>
                  </a:moveTo>
                  <a:lnTo>
                    <a:pt x="252243" y="2713"/>
                  </a:lnTo>
                  <a:lnTo>
                    <a:pt x="204316" y="10854"/>
                  </a:lnTo>
                  <a:lnTo>
                    <a:pt x="161434" y="24423"/>
                  </a:lnTo>
                  <a:lnTo>
                    <a:pt x="123598" y="43419"/>
                  </a:lnTo>
                  <a:lnTo>
                    <a:pt x="90806" y="67842"/>
                  </a:lnTo>
                  <a:lnTo>
                    <a:pt x="63059" y="97692"/>
                  </a:lnTo>
                  <a:lnTo>
                    <a:pt x="40358" y="132970"/>
                  </a:lnTo>
                  <a:lnTo>
                    <a:pt x="22701" y="173676"/>
                  </a:lnTo>
                  <a:lnTo>
                    <a:pt x="10089" y="219808"/>
                  </a:lnTo>
                  <a:lnTo>
                    <a:pt x="2522" y="271369"/>
                  </a:lnTo>
                  <a:lnTo>
                    <a:pt x="0" y="328356"/>
                  </a:lnTo>
                  <a:lnTo>
                    <a:pt x="0" y="655791"/>
                  </a:lnTo>
                  <a:lnTo>
                    <a:pt x="128037" y="655791"/>
                  </a:lnTo>
                  <a:lnTo>
                    <a:pt x="128037" y="327665"/>
                  </a:lnTo>
                  <a:lnTo>
                    <a:pt x="130114" y="281061"/>
                  </a:lnTo>
                  <a:lnTo>
                    <a:pt x="136344" y="241455"/>
                  </a:lnTo>
                  <a:lnTo>
                    <a:pt x="161251" y="183250"/>
                  </a:lnTo>
                  <a:lnTo>
                    <a:pt x="218159" y="141100"/>
                  </a:lnTo>
                  <a:lnTo>
                    <a:pt x="257935" y="130613"/>
                  </a:lnTo>
                  <a:lnTo>
                    <a:pt x="305215" y="127127"/>
                  </a:lnTo>
                  <a:lnTo>
                    <a:pt x="352429" y="130605"/>
                  </a:lnTo>
                  <a:lnTo>
                    <a:pt x="391999" y="141042"/>
                  </a:lnTo>
                  <a:lnTo>
                    <a:pt x="448038" y="182790"/>
                  </a:lnTo>
                  <a:lnTo>
                    <a:pt x="472941" y="241288"/>
                  </a:lnTo>
                  <a:lnTo>
                    <a:pt x="479166" y="280992"/>
                  </a:lnTo>
                  <a:lnTo>
                    <a:pt x="481241" y="327665"/>
                  </a:lnTo>
                  <a:lnTo>
                    <a:pt x="481241" y="655791"/>
                  </a:lnTo>
                  <a:lnTo>
                    <a:pt x="609059" y="655791"/>
                  </a:lnTo>
                  <a:lnTo>
                    <a:pt x="609059" y="328356"/>
                  </a:lnTo>
                  <a:lnTo>
                    <a:pt x="606774" y="271369"/>
                  </a:lnTo>
                  <a:lnTo>
                    <a:pt x="599422" y="219808"/>
                  </a:lnTo>
                  <a:lnTo>
                    <a:pt x="587003" y="173676"/>
                  </a:lnTo>
                  <a:lnTo>
                    <a:pt x="569516" y="132970"/>
                  </a:lnTo>
                  <a:lnTo>
                    <a:pt x="546962" y="97692"/>
                  </a:lnTo>
                  <a:lnTo>
                    <a:pt x="519340" y="67842"/>
                  </a:lnTo>
                  <a:lnTo>
                    <a:pt x="486651" y="43419"/>
                  </a:lnTo>
                  <a:lnTo>
                    <a:pt x="448894" y="24423"/>
                  </a:lnTo>
                  <a:lnTo>
                    <a:pt x="406069" y="10854"/>
                  </a:lnTo>
                  <a:lnTo>
                    <a:pt x="358176" y="2713"/>
                  </a:lnTo>
                  <a:lnTo>
                    <a:pt x="305215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6" name="object 21">
              <a:extLst>
                <a:ext uri="{FF2B5EF4-FFF2-40B4-BE49-F238E27FC236}">
                  <a16:creationId xmlns:a16="http://schemas.microsoft.com/office/drawing/2014/main" xmlns="" id="{17F1958B-B1DA-4796-61CA-8466059A405D}"/>
                </a:ext>
              </a:extLst>
            </p:cNvPr>
            <p:cNvSpPr/>
            <p:nvPr/>
          </p:nvSpPr>
          <p:spPr>
            <a:xfrm>
              <a:off x="6943357" y="2332007"/>
              <a:ext cx="528320" cy="657225"/>
            </a:xfrm>
            <a:custGeom>
              <a:avLst/>
              <a:gdLst/>
              <a:ahLst/>
              <a:cxnLst/>
              <a:rect l="l" t="t" r="r" b="b"/>
              <a:pathLst>
                <a:path w="528320" h="657225">
                  <a:moveTo>
                    <a:pt x="517278" y="128498"/>
                  </a:moveTo>
                  <a:lnTo>
                    <a:pt x="263070" y="128498"/>
                  </a:lnTo>
                  <a:lnTo>
                    <a:pt x="304201" y="130045"/>
                  </a:lnTo>
                  <a:lnTo>
                    <a:pt x="337801" y="134685"/>
                  </a:lnTo>
                  <a:lnTo>
                    <a:pt x="382407" y="153241"/>
                  </a:lnTo>
                  <a:lnTo>
                    <a:pt x="400165" y="196077"/>
                  </a:lnTo>
                  <a:lnTo>
                    <a:pt x="399917" y="208245"/>
                  </a:lnTo>
                  <a:lnTo>
                    <a:pt x="364330" y="250187"/>
                  </a:lnTo>
                  <a:lnTo>
                    <a:pt x="304662" y="262560"/>
                  </a:lnTo>
                  <a:lnTo>
                    <a:pt x="263531" y="264107"/>
                  </a:lnTo>
                  <a:lnTo>
                    <a:pt x="206487" y="266888"/>
                  </a:lnTo>
                  <a:lnTo>
                    <a:pt x="156204" y="275334"/>
                  </a:lnTo>
                  <a:lnTo>
                    <a:pt x="112684" y="289443"/>
                  </a:lnTo>
                  <a:lnTo>
                    <a:pt x="75924" y="309215"/>
                  </a:lnTo>
                  <a:lnTo>
                    <a:pt x="45925" y="334649"/>
                  </a:lnTo>
                  <a:lnTo>
                    <a:pt x="10824" y="393209"/>
                  </a:lnTo>
                  <a:lnTo>
                    <a:pt x="215" y="459033"/>
                  </a:lnTo>
                  <a:lnTo>
                    <a:pt x="171" y="461546"/>
                  </a:lnTo>
                  <a:lnTo>
                    <a:pt x="2244" y="495015"/>
                  </a:lnTo>
                  <a:lnTo>
                    <a:pt x="25472" y="558891"/>
                  </a:lnTo>
                  <a:lnTo>
                    <a:pt x="75774" y="612009"/>
                  </a:lnTo>
                  <a:lnTo>
                    <a:pt x="112460" y="631764"/>
                  </a:lnTo>
                  <a:lnTo>
                    <a:pt x="155983" y="645874"/>
                  </a:lnTo>
                  <a:lnTo>
                    <a:pt x="206340" y="654341"/>
                  </a:lnTo>
                  <a:lnTo>
                    <a:pt x="263531" y="657163"/>
                  </a:lnTo>
                  <a:lnTo>
                    <a:pt x="325562" y="654087"/>
                  </a:lnTo>
                  <a:lnTo>
                    <a:pt x="379324" y="644859"/>
                  </a:lnTo>
                  <a:lnTo>
                    <a:pt x="424814" y="629478"/>
                  </a:lnTo>
                  <a:lnTo>
                    <a:pt x="462034" y="607946"/>
                  </a:lnTo>
                  <a:lnTo>
                    <a:pt x="490983" y="580261"/>
                  </a:lnTo>
                  <a:lnTo>
                    <a:pt x="511661" y="546423"/>
                  </a:lnTo>
                  <a:lnTo>
                    <a:pt x="516852" y="529690"/>
                  </a:lnTo>
                  <a:lnTo>
                    <a:pt x="263531" y="529690"/>
                  </a:lnTo>
                  <a:lnTo>
                    <a:pt x="222901" y="528123"/>
                  </a:lnTo>
                  <a:lnTo>
                    <a:pt x="163802" y="515585"/>
                  </a:lnTo>
                  <a:lnTo>
                    <a:pt x="131596" y="484819"/>
                  </a:lnTo>
                  <a:lnTo>
                    <a:pt x="128169" y="461546"/>
                  </a:lnTo>
                  <a:lnTo>
                    <a:pt x="128208" y="459033"/>
                  </a:lnTo>
                  <a:lnTo>
                    <a:pt x="145335" y="417222"/>
                  </a:lnTo>
                  <a:lnTo>
                    <a:pt x="189657" y="399359"/>
                  </a:lnTo>
                  <a:lnTo>
                    <a:pt x="263531" y="393401"/>
                  </a:lnTo>
                  <a:lnTo>
                    <a:pt x="298222" y="392762"/>
                  </a:lnTo>
                  <a:lnTo>
                    <a:pt x="332677" y="389228"/>
                  </a:lnTo>
                  <a:lnTo>
                    <a:pt x="366717" y="382829"/>
                  </a:lnTo>
                  <a:lnTo>
                    <a:pt x="400165" y="373590"/>
                  </a:lnTo>
                  <a:lnTo>
                    <a:pt x="528088" y="373590"/>
                  </a:lnTo>
                  <a:lnTo>
                    <a:pt x="528088" y="195617"/>
                  </a:lnTo>
                  <a:lnTo>
                    <a:pt x="523928" y="149768"/>
                  </a:lnTo>
                  <a:lnTo>
                    <a:pt x="517278" y="128498"/>
                  </a:lnTo>
                  <a:close/>
                </a:path>
                <a:path w="528320" h="657225">
                  <a:moveTo>
                    <a:pt x="528088" y="373590"/>
                  </a:moveTo>
                  <a:lnTo>
                    <a:pt x="400165" y="373590"/>
                  </a:lnTo>
                  <a:lnTo>
                    <a:pt x="400165" y="460980"/>
                  </a:lnTo>
                  <a:lnTo>
                    <a:pt x="399705" y="461546"/>
                  </a:lnTo>
                  <a:lnTo>
                    <a:pt x="382407" y="505303"/>
                  </a:lnTo>
                  <a:lnTo>
                    <a:pt x="337572" y="523595"/>
                  </a:lnTo>
                  <a:lnTo>
                    <a:pt x="263531" y="529690"/>
                  </a:lnTo>
                  <a:lnTo>
                    <a:pt x="516852" y="529690"/>
                  </a:lnTo>
                  <a:lnTo>
                    <a:pt x="524068" y="506432"/>
                  </a:lnTo>
                  <a:lnTo>
                    <a:pt x="528091" y="461546"/>
                  </a:lnTo>
                  <a:lnTo>
                    <a:pt x="528088" y="373590"/>
                  </a:lnTo>
                  <a:close/>
                </a:path>
                <a:path w="528320" h="657225">
                  <a:moveTo>
                    <a:pt x="263416" y="0"/>
                  </a:moveTo>
                  <a:lnTo>
                    <a:pt x="206371" y="2803"/>
                  </a:lnTo>
                  <a:lnTo>
                    <a:pt x="156089" y="11213"/>
                  </a:lnTo>
                  <a:lnTo>
                    <a:pt x="112568" y="25231"/>
                  </a:lnTo>
                  <a:lnTo>
                    <a:pt x="75809" y="44857"/>
                  </a:lnTo>
                  <a:lnTo>
                    <a:pt x="45810" y="70092"/>
                  </a:lnTo>
                  <a:lnTo>
                    <a:pt x="10571" y="128600"/>
                  </a:lnTo>
                  <a:lnTo>
                    <a:pt x="0" y="196077"/>
                  </a:lnTo>
                  <a:lnTo>
                    <a:pt x="128153" y="196077"/>
                  </a:lnTo>
                  <a:lnTo>
                    <a:pt x="128592" y="184074"/>
                  </a:lnTo>
                  <a:lnTo>
                    <a:pt x="131722" y="172641"/>
                  </a:lnTo>
                  <a:lnTo>
                    <a:pt x="163172" y="142417"/>
                  </a:lnTo>
                  <a:lnTo>
                    <a:pt x="222039" y="130045"/>
                  </a:lnTo>
                  <a:lnTo>
                    <a:pt x="263070" y="128498"/>
                  </a:lnTo>
                  <a:lnTo>
                    <a:pt x="517278" y="128498"/>
                  </a:lnTo>
                  <a:lnTo>
                    <a:pt x="511504" y="110033"/>
                  </a:lnTo>
                  <a:lnTo>
                    <a:pt x="490816" y="76411"/>
                  </a:lnTo>
                  <a:lnTo>
                    <a:pt x="461864" y="48902"/>
                  </a:lnTo>
                  <a:lnTo>
                    <a:pt x="424647" y="27507"/>
                  </a:lnTo>
                  <a:lnTo>
                    <a:pt x="379167" y="12225"/>
                  </a:lnTo>
                  <a:lnTo>
                    <a:pt x="325423" y="3056"/>
                  </a:lnTo>
                  <a:lnTo>
                    <a:pt x="26341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xmlns="" id="{656C655D-430F-2AC5-D1B1-D228573DE8FE}"/>
                </a:ext>
              </a:extLst>
            </p:cNvPr>
            <p:cNvSpPr/>
            <p:nvPr/>
          </p:nvSpPr>
          <p:spPr>
            <a:xfrm>
              <a:off x="7570053" y="2074088"/>
              <a:ext cx="609600" cy="915669"/>
            </a:xfrm>
            <a:custGeom>
              <a:avLst/>
              <a:gdLst/>
              <a:ahLst/>
              <a:cxnLst/>
              <a:rect l="l" t="t" r="r" b="b"/>
              <a:pathLst>
                <a:path w="609600" h="915669">
                  <a:moveTo>
                    <a:pt x="128048" y="0"/>
                  </a:moveTo>
                  <a:lnTo>
                    <a:pt x="0" y="0"/>
                  </a:lnTo>
                  <a:lnTo>
                    <a:pt x="46" y="588107"/>
                  </a:lnTo>
                  <a:lnTo>
                    <a:pt x="2323" y="643905"/>
                  </a:lnTo>
                  <a:lnTo>
                    <a:pt x="9710" y="695429"/>
                  </a:lnTo>
                  <a:lnTo>
                    <a:pt x="22162" y="741530"/>
                  </a:lnTo>
                  <a:lnTo>
                    <a:pt x="39677" y="782207"/>
                  </a:lnTo>
                  <a:lnTo>
                    <a:pt x="62256" y="817460"/>
                  </a:lnTo>
                  <a:lnTo>
                    <a:pt x="89899" y="847289"/>
                  </a:lnTo>
                  <a:lnTo>
                    <a:pt x="122606" y="871695"/>
                  </a:lnTo>
                  <a:lnTo>
                    <a:pt x="160377" y="890677"/>
                  </a:lnTo>
                  <a:lnTo>
                    <a:pt x="203212" y="904235"/>
                  </a:lnTo>
                  <a:lnTo>
                    <a:pt x="251218" y="912375"/>
                  </a:lnTo>
                  <a:lnTo>
                    <a:pt x="304074" y="915082"/>
                  </a:lnTo>
                  <a:lnTo>
                    <a:pt x="357078" y="912370"/>
                  </a:lnTo>
                  <a:lnTo>
                    <a:pt x="405043" y="904235"/>
                  </a:lnTo>
                  <a:lnTo>
                    <a:pt x="447855" y="890726"/>
                  </a:lnTo>
                  <a:lnTo>
                    <a:pt x="485692" y="871784"/>
                  </a:lnTo>
                  <a:lnTo>
                    <a:pt x="518483" y="847429"/>
                  </a:lnTo>
                  <a:lnTo>
                    <a:pt x="546230" y="817661"/>
                  </a:lnTo>
                  <a:lnTo>
                    <a:pt x="565623" y="787609"/>
                  </a:lnTo>
                  <a:lnTo>
                    <a:pt x="304074" y="787609"/>
                  </a:lnTo>
                  <a:lnTo>
                    <a:pt x="256794" y="784109"/>
                  </a:lnTo>
                  <a:lnTo>
                    <a:pt x="217232" y="773608"/>
                  </a:lnTo>
                  <a:lnTo>
                    <a:pt x="161262" y="731611"/>
                  </a:lnTo>
                  <a:lnTo>
                    <a:pt x="136350" y="673285"/>
                  </a:lnTo>
                  <a:lnTo>
                    <a:pt x="130123" y="633880"/>
                  </a:lnTo>
                  <a:lnTo>
                    <a:pt x="128069" y="588107"/>
                  </a:lnTo>
                  <a:lnTo>
                    <a:pt x="128048" y="386417"/>
                  </a:lnTo>
                  <a:lnTo>
                    <a:pt x="565107" y="386417"/>
                  </a:lnTo>
                  <a:lnTo>
                    <a:pt x="546284" y="357121"/>
                  </a:lnTo>
                  <a:lnTo>
                    <a:pt x="518538" y="327229"/>
                  </a:lnTo>
                  <a:lnTo>
                    <a:pt x="485742" y="302771"/>
                  </a:lnTo>
                  <a:lnTo>
                    <a:pt x="447898" y="283748"/>
                  </a:lnTo>
                  <a:lnTo>
                    <a:pt x="405006" y="270160"/>
                  </a:lnTo>
                  <a:lnTo>
                    <a:pt x="357064" y="262008"/>
                  </a:lnTo>
                  <a:lnTo>
                    <a:pt x="304074" y="259290"/>
                  </a:lnTo>
                  <a:lnTo>
                    <a:pt x="128048" y="259290"/>
                  </a:lnTo>
                  <a:lnTo>
                    <a:pt x="128048" y="0"/>
                  </a:lnTo>
                  <a:close/>
                </a:path>
                <a:path w="609600" h="915669">
                  <a:moveTo>
                    <a:pt x="565107" y="386417"/>
                  </a:moveTo>
                  <a:lnTo>
                    <a:pt x="304074" y="386417"/>
                  </a:lnTo>
                  <a:lnTo>
                    <a:pt x="351338" y="389869"/>
                  </a:lnTo>
                  <a:lnTo>
                    <a:pt x="391087" y="400334"/>
                  </a:lnTo>
                  <a:lnTo>
                    <a:pt x="448038" y="442311"/>
                  </a:lnTo>
                  <a:lnTo>
                    <a:pt x="472946" y="500980"/>
                  </a:lnTo>
                  <a:lnTo>
                    <a:pt x="479175" y="540814"/>
                  </a:lnTo>
                  <a:lnTo>
                    <a:pt x="481221" y="586955"/>
                  </a:lnTo>
                  <a:lnTo>
                    <a:pt x="481232" y="588107"/>
                  </a:lnTo>
                  <a:lnTo>
                    <a:pt x="479218" y="633880"/>
                  </a:lnTo>
                  <a:lnTo>
                    <a:pt x="473005" y="673285"/>
                  </a:lnTo>
                  <a:lnTo>
                    <a:pt x="448038" y="731611"/>
                  </a:lnTo>
                  <a:lnTo>
                    <a:pt x="391201" y="773608"/>
                  </a:lnTo>
                  <a:lnTo>
                    <a:pt x="351425" y="784109"/>
                  </a:lnTo>
                  <a:lnTo>
                    <a:pt x="304074" y="787609"/>
                  </a:lnTo>
                  <a:lnTo>
                    <a:pt x="565623" y="787609"/>
                  </a:lnTo>
                  <a:lnTo>
                    <a:pt x="586588" y="741891"/>
                  </a:lnTo>
                  <a:lnTo>
                    <a:pt x="599200" y="695888"/>
                  </a:lnTo>
                  <a:lnTo>
                    <a:pt x="606767" y="644473"/>
                  </a:lnTo>
                  <a:lnTo>
                    <a:pt x="609269" y="588107"/>
                  </a:lnTo>
                  <a:lnTo>
                    <a:pt x="609239" y="586955"/>
                  </a:lnTo>
                  <a:lnTo>
                    <a:pt x="606786" y="531041"/>
                  </a:lnTo>
                  <a:lnTo>
                    <a:pt x="599233" y="479409"/>
                  </a:lnTo>
                  <a:lnTo>
                    <a:pt x="586632" y="433211"/>
                  </a:lnTo>
                  <a:lnTo>
                    <a:pt x="568982" y="392449"/>
                  </a:lnTo>
                  <a:lnTo>
                    <a:pt x="565107" y="386417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8" name="object 23">
              <a:extLst>
                <a:ext uri="{FF2B5EF4-FFF2-40B4-BE49-F238E27FC236}">
                  <a16:creationId xmlns:a16="http://schemas.microsoft.com/office/drawing/2014/main" xmlns="" id="{CD1398F0-FC07-62C4-F5CC-E9932180C424}"/>
                </a:ext>
              </a:extLst>
            </p:cNvPr>
            <p:cNvSpPr/>
            <p:nvPr/>
          </p:nvSpPr>
          <p:spPr>
            <a:xfrm>
              <a:off x="8244171" y="2333379"/>
              <a:ext cx="593725" cy="655955"/>
            </a:xfrm>
            <a:custGeom>
              <a:avLst/>
              <a:gdLst/>
              <a:ahLst/>
              <a:cxnLst/>
              <a:rect l="l" t="t" r="r" b="b"/>
              <a:pathLst>
                <a:path w="593725" h="655955">
                  <a:moveTo>
                    <a:pt x="304524" y="0"/>
                  </a:moveTo>
                  <a:lnTo>
                    <a:pt x="251672" y="2438"/>
                  </a:lnTo>
                  <a:lnTo>
                    <a:pt x="203854" y="10336"/>
                  </a:lnTo>
                  <a:lnTo>
                    <a:pt x="161069" y="23694"/>
                  </a:lnTo>
                  <a:lnTo>
                    <a:pt x="123318" y="42511"/>
                  </a:lnTo>
                  <a:lnTo>
                    <a:pt x="90600" y="66788"/>
                  </a:lnTo>
                  <a:lnTo>
                    <a:pt x="62917" y="96524"/>
                  </a:lnTo>
                  <a:lnTo>
                    <a:pt x="40266" y="131720"/>
                  </a:lnTo>
                  <a:lnTo>
                    <a:pt x="22650" y="172376"/>
                  </a:lnTo>
                  <a:lnTo>
                    <a:pt x="10066" y="218491"/>
                  </a:lnTo>
                  <a:lnTo>
                    <a:pt x="2516" y="270065"/>
                  </a:lnTo>
                  <a:lnTo>
                    <a:pt x="0" y="327099"/>
                  </a:lnTo>
                  <a:lnTo>
                    <a:pt x="2512" y="384144"/>
                  </a:lnTo>
                  <a:lnTo>
                    <a:pt x="10051" y="435757"/>
                  </a:lnTo>
                  <a:lnTo>
                    <a:pt x="22615" y="481936"/>
                  </a:lnTo>
                  <a:lnTo>
                    <a:pt x="40205" y="522683"/>
                  </a:lnTo>
                  <a:lnTo>
                    <a:pt x="62820" y="557997"/>
                  </a:lnTo>
                  <a:lnTo>
                    <a:pt x="90462" y="587878"/>
                  </a:lnTo>
                  <a:lnTo>
                    <a:pt x="123130" y="612327"/>
                  </a:lnTo>
                  <a:lnTo>
                    <a:pt x="160824" y="631342"/>
                  </a:lnTo>
                  <a:lnTo>
                    <a:pt x="203544" y="644925"/>
                  </a:lnTo>
                  <a:lnTo>
                    <a:pt x="251291" y="653075"/>
                  </a:lnTo>
                  <a:lnTo>
                    <a:pt x="304064" y="655791"/>
                  </a:lnTo>
                  <a:lnTo>
                    <a:pt x="360244" y="652634"/>
                  </a:lnTo>
                  <a:lnTo>
                    <a:pt x="410705" y="643216"/>
                  </a:lnTo>
                  <a:lnTo>
                    <a:pt x="455447" y="627539"/>
                  </a:lnTo>
                  <a:lnTo>
                    <a:pt x="494470" y="605601"/>
                  </a:lnTo>
                  <a:lnTo>
                    <a:pt x="527773" y="577404"/>
                  </a:lnTo>
                  <a:lnTo>
                    <a:pt x="555356" y="542947"/>
                  </a:lnTo>
                  <a:lnTo>
                    <a:pt x="577220" y="502230"/>
                  </a:lnTo>
                  <a:lnTo>
                    <a:pt x="593364" y="455253"/>
                  </a:lnTo>
                  <a:lnTo>
                    <a:pt x="458331" y="455253"/>
                  </a:lnTo>
                  <a:lnTo>
                    <a:pt x="434418" y="487219"/>
                  </a:lnTo>
                  <a:lnTo>
                    <a:pt x="400813" y="510052"/>
                  </a:lnTo>
                  <a:lnTo>
                    <a:pt x="357516" y="523752"/>
                  </a:lnTo>
                  <a:lnTo>
                    <a:pt x="304524" y="528318"/>
                  </a:lnTo>
                  <a:lnTo>
                    <a:pt x="257244" y="524818"/>
                  </a:lnTo>
                  <a:lnTo>
                    <a:pt x="217683" y="514318"/>
                  </a:lnTo>
                  <a:lnTo>
                    <a:pt x="161712" y="472320"/>
                  </a:lnTo>
                  <a:lnTo>
                    <a:pt x="136855" y="413736"/>
                  </a:lnTo>
                  <a:lnTo>
                    <a:pt x="130615" y="373924"/>
                  </a:lnTo>
                  <a:lnTo>
                    <a:pt x="128498" y="327099"/>
                  </a:lnTo>
                  <a:lnTo>
                    <a:pt x="130528" y="280261"/>
                  </a:lnTo>
                  <a:lnTo>
                    <a:pt x="136741" y="240425"/>
                  </a:lnTo>
                  <a:lnTo>
                    <a:pt x="161712" y="181764"/>
                  </a:lnTo>
                  <a:lnTo>
                    <a:pt x="217742" y="140784"/>
                  </a:lnTo>
                  <a:lnTo>
                    <a:pt x="257290" y="130541"/>
                  </a:lnTo>
                  <a:lnTo>
                    <a:pt x="304524" y="127127"/>
                  </a:lnTo>
                  <a:lnTo>
                    <a:pt x="358030" y="131615"/>
                  </a:lnTo>
                  <a:lnTo>
                    <a:pt x="401500" y="145079"/>
                  </a:lnTo>
                  <a:lnTo>
                    <a:pt x="434935" y="167519"/>
                  </a:lnTo>
                  <a:lnTo>
                    <a:pt x="458331" y="198936"/>
                  </a:lnTo>
                  <a:lnTo>
                    <a:pt x="593364" y="198936"/>
                  </a:lnTo>
                  <a:lnTo>
                    <a:pt x="577327" y="152310"/>
                  </a:lnTo>
                  <a:lnTo>
                    <a:pt x="555557" y="111901"/>
                  </a:lnTo>
                  <a:lnTo>
                    <a:pt x="528052" y="77709"/>
                  </a:lnTo>
                  <a:lnTo>
                    <a:pt x="494814" y="49734"/>
                  </a:lnTo>
                  <a:lnTo>
                    <a:pt x="455842" y="27975"/>
                  </a:lnTo>
                  <a:lnTo>
                    <a:pt x="411137" y="12433"/>
                  </a:lnTo>
                  <a:lnTo>
                    <a:pt x="360697" y="3108"/>
                  </a:lnTo>
                  <a:lnTo>
                    <a:pt x="304524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9" name="object 24">
              <a:extLst>
                <a:ext uri="{FF2B5EF4-FFF2-40B4-BE49-F238E27FC236}">
                  <a16:creationId xmlns:a16="http://schemas.microsoft.com/office/drawing/2014/main" xmlns="" id="{6E2EA2A2-ED67-B4B6-A22B-163369428086}"/>
                </a:ext>
              </a:extLst>
            </p:cNvPr>
            <p:cNvSpPr/>
            <p:nvPr/>
          </p:nvSpPr>
          <p:spPr>
            <a:xfrm>
              <a:off x="8887124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446" y="0"/>
                  </a:moveTo>
                  <a:lnTo>
                    <a:pt x="252412" y="2717"/>
                  </a:lnTo>
                  <a:lnTo>
                    <a:pt x="204424" y="10870"/>
                  </a:lnTo>
                  <a:lnTo>
                    <a:pt x="161490" y="24458"/>
                  </a:lnTo>
                  <a:lnTo>
                    <a:pt x="123694" y="43419"/>
                  </a:lnTo>
                  <a:lnTo>
                    <a:pt x="90877" y="67842"/>
                  </a:lnTo>
                  <a:lnTo>
                    <a:pt x="63109" y="97692"/>
                  </a:lnTo>
                  <a:lnTo>
                    <a:pt x="40390" y="132970"/>
                  </a:lnTo>
                  <a:lnTo>
                    <a:pt x="22719" y="173676"/>
                  </a:lnTo>
                  <a:lnTo>
                    <a:pt x="10097" y="219808"/>
                  </a:lnTo>
                  <a:lnTo>
                    <a:pt x="2524" y="271369"/>
                  </a:lnTo>
                  <a:lnTo>
                    <a:pt x="0" y="328356"/>
                  </a:lnTo>
                  <a:lnTo>
                    <a:pt x="2731" y="385183"/>
                  </a:lnTo>
                  <a:lnTo>
                    <a:pt x="10468" y="436598"/>
                  </a:lnTo>
                  <a:lnTo>
                    <a:pt x="23210" y="482601"/>
                  </a:lnTo>
                  <a:lnTo>
                    <a:pt x="40958" y="523192"/>
                  </a:lnTo>
                  <a:lnTo>
                    <a:pt x="63711" y="558371"/>
                  </a:lnTo>
                  <a:lnTo>
                    <a:pt x="91469" y="588138"/>
                  </a:lnTo>
                  <a:lnTo>
                    <a:pt x="124232" y="612493"/>
                  </a:lnTo>
                  <a:lnTo>
                    <a:pt x="162000" y="631436"/>
                  </a:lnTo>
                  <a:lnTo>
                    <a:pt x="204772" y="644966"/>
                  </a:lnTo>
                  <a:lnTo>
                    <a:pt x="252549" y="653085"/>
                  </a:lnTo>
                  <a:lnTo>
                    <a:pt x="305331" y="655791"/>
                  </a:lnTo>
                  <a:lnTo>
                    <a:pt x="358104" y="653085"/>
                  </a:lnTo>
                  <a:lnTo>
                    <a:pt x="405851" y="644966"/>
                  </a:lnTo>
                  <a:lnTo>
                    <a:pt x="448572" y="631436"/>
                  </a:lnTo>
                  <a:lnTo>
                    <a:pt x="486267" y="612493"/>
                  </a:lnTo>
                  <a:lnTo>
                    <a:pt x="518937" y="588138"/>
                  </a:lnTo>
                  <a:lnTo>
                    <a:pt x="546580" y="558371"/>
                  </a:lnTo>
                  <a:lnTo>
                    <a:pt x="565753" y="528549"/>
                  </a:lnTo>
                  <a:lnTo>
                    <a:pt x="305331" y="528549"/>
                  </a:lnTo>
                  <a:lnTo>
                    <a:pt x="258139" y="525086"/>
                  </a:lnTo>
                  <a:lnTo>
                    <a:pt x="218607" y="514807"/>
                  </a:lnTo>
                  <a:lnTo>
                    <a:pt x="162518" y="473807"/>
                  </a:lnTo>
                  <a:lnTo>
                    <a:pt x="137543" y="415167"/>
                  </a:lnTo>
                  <a:lnTo>
                    <a:pt x="131337" y="375370"/>
                  </a:lnTo>
                  <a:lnTo>
                    <a:pt x="129314" y="328817"/>
                  </a:lnTo>
                  <a:lnTo>
                    <a:pt x="129315" y="328356"/>
                  </a:lnTo>
                  <a:lnTo>
                    <a:pt x="131423" y="281750"/>
                  </a:lnTo>
                  <a:lnTo>
                    <a:pt x="137665" y="241916"/>
                  </a:lnTo>
                  <a:lnTo>
                    <a:pt x="162518" y="183250"/>
                  </a:lnTo>
                  <a:lnTo>
                    <a:pt x="218692" y="141218"/>
                  </a:lnTo>
                  <a:lnTo>
                    <a:pt x="258246" y="130680"/>
                  </a:lnTo>
                  <a:lnTo>
                    <a:pt x="305446" y="127127"/>
                  </a:lnTo>
                  <a:lnTo>
                    <a:pt x="566093" y="127127"/>
                  </a:lnTo>
                  <a:lnTo>
                    <a:pt x="547376" y="97831"/>
                  </a:lnTo>
                  <a:lnTo>
                    <a:pt x="519734" y="67938"/>
                  </a:lnTo>
                  <a:lnTo>
                    <a:pt x="487020" y="43480"/>
                  </a:lnTo>
                  <a:lnTo>
                    <a:pt x="449234" y="24458"/>
                  </a:lnTo>
                  <a:lnTo>
                    <a:pt x="406377" y="10870"/>
                  </a:lnTo>
                  <a:lnTo>
                    <a:pt x="358371" y="2713"/>
                  </a:lnTo>
                  <a:lnTo>
                    <a:pt x="305446" y="0"/>
                  </a:lnTo>
                  <a:close/>
                </a:path>
                <a:path w="609600" h="655955">
                  <a:moveTo>
                    <a:pt x="566093" y="127127"/>
                  </a:moveTo>
                  <a:lnTo>
                    <a:pt x="305446" y="127127"/>
                  </a:lnTo>
                  <a:lnTo>
                    <a:pt x="352631" y="130578"/>
                  </a:lnTo>
                  <a:lnTo>
                    <a:pt x="392145" y="141044"/>
                  </a:lnTo>
                  <a:lnTo>
                    <a:pt x="448153" y="183020"/>
                  </a:lnTo>
                  <a:lnTo>
                    <a:pt x="473061" y="241690"/>
                  </a:lnTo>
                  <a:lnTo>
                    <a:pt x="479290" y="281524"/>
                  </a:lnTo>
                  <a:lnTo>
                    <a:pt x="481367" y="328356"/>
                  </a:lnTo>
                  <a:lnTo>
                    <a:pt x="479284" y="375411"/>
                  </a:lnTo>
                  <a:lnTo>
                    <a:pt x="473044" y="415222"/>
                  </a:lnTo>
                  <a:lnTo>
                    <a:pt x="448153" y="473807"/>
                  </a:lnTo>
                  <a:lnTo>
                    <a:pt x="392060" y="514921"/>
                  </a:lnTo>
                  <a:lnTo>
                    <a:pt x="352524" y="525170"/>
                  </a:lnTo>
                  <a:lnTo>
                    <a:pt x="305331" y="528549"/>
                  </a:lnTo>
                  <a:lnTo>
                    <a:pt x="565753" y="528549"/>
                  </a:lnTo>
                  <a:lnTo>
                    <a:pt x="586788" y="482601"/>
                  </a:lnTo>
                  <a:lnTo>
                    <a:pt x="599353" y="436598"/>
                  </a:lnTo>
                  <a:lnTo>
                    <a:pt x="606892" y="385183"/>
                  </a:lnTo>
                  <a:lnTo>
                    <a:pt x="609385" y="328817"/>
                  </a:lnTo>
                  <a:lnTo>
                    <a:pt x="609502" y="328356"/>
                  </a:lnTo>
                  <a:lnTo>
                    <a:pt x="607233" y="271750"/>
                  </a:lnTo>
                  <a:lnTo>
                    <a:pt x="599876" y="220118"/>
                  </a:lnTo>
                  <a:lnTo>
                    <a:pt x="587447" y="173921"/>
                  </a:lnTo>
                  <a:lnTo>
                    <a:pt x="569947" y="133158"/>
                  </a:lnTo>
                  <a:lnTo>
                    <a:pt x="566093" y="127127"/>
                  </a:lnTo>
                  <a:close/>
                </a:path>
                <a:path w="609600" h="655955">
                  <a:moveTo>
                    <a:pt x="609502" y="328356"/>
                  </a:moveTo>
                  <a:lnTo>
                    <a:pt x="609520" y="328817"/>
                  </a:lnTo>
                  <a:lnTo>
                    <a:pt x="609502" y="328356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grpSp>
          <p:nvGrpSpPr>
            <p:cNvPr id="30" name="object 25">
              <a:extLst>
                <a:ext uri="{FF2B5EF4-FFF2-40B4-BE49-F238E27FC236}">
                  <a16:creationId xmlns:a16="http://schemas.microsoft.com/office/drawing/2014/main" xmlns="" id="{658AEF53-E83F-DA2F-FD31-8DE805991C95}"/>
                </a:ext>
              </a:extLst>
            </p:cNvPr>
            <p:cNvGrpSpPr/>
            <p:nvPr/>
          </p:nvGrpSpPr>
          <p:grpSpPr>
            <a:xfrm>
              <a:off x="5516224" y="1909393"/>
              <a:ext cx="1198880" cy="1238250"/>
              <a:chOff x="5516224" y="1909393"/>
              <a:chExt cx="1198880" cy="1238250"/>
            </a:xfrm>
          </p:grpSpPr>
          <p:sp>
            <p:nvSpPr>
              <p:cNvPr id="31" name="object 26">
                <a:extLst>
                  <a:ext uri="{FF2B5EF4-FFF2-40B4-BE49-F238E27FC236}">
                    <a16:creationId xmlns:a16="http://schemas.microsoft.com/office/drawing/2014/main" xmlns="" id="{F4BB2867-DF78-F9B3-BFED-493DE908286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2" name="object 27">
                <a:extLst>
                  <a:ext uri="{FF2B5EF4-FFF2-40B4-BE49-F238E27FC236}">
                    <a16:creationId xmlns:a16="http://schemas.microsoft.com/office/drawing/2014/main" xmlns="" id="{58566271-7B86-255F-4AA0-E6142D0AA7F5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3" name="object 28">
                <a:extLst>
                  <a:ext uri="{FF2B5EF4-FFF2-40B4-BE49-F238E27FC236}">
                    <a16:creationId xmlns:a16="http://schemas.microsoft.com/office/drawing/2014/main" xmlns="" id="{7F25DC6C-837D-E92C-4DDB-AB535AD90A5C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4" name="object 29">
                <a:extLst>
                  <a:ext uri="{FF2B5EF4-FFF2-40B4-BE49-F238E27FC236}">
                    <a16:creationId xmlns:a16="http://schemas.microsoft.com/office/drawing/2014/main" xmlns="" id="{A75A9553-2660-D179-4E5D-844CFD7E5B5D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</p:grpSp>
      </p:grpSp>
      <p:pic>
        <p:nvPicPr>
          <p:cNvPr id="35" name="Imagem 34">
            <a:extLst>
              <a:ext uri="{FF2B5EF4-FFF2-40B4-BE49-F238E27FC236}">
                <a16:creationId xmlns:a16="http://schemas.microsoft.com/office/drawing/2014/main" xmlns="" id="{EA508235-E3B9-B883-D765-3E0C7CB7D28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438" b="83630" l="897" r="90000">
                        <a14:foregroundMark x1="4679" y1="34832" x2="4679" y2="34832"/>
                        <a14:foregroundMark x1="5256" y1="30457" x2="5256" y2="30457"/>
                        <a14:foregroundMark x1="929" y1="27644" x2="929" y2="27644"/>
                        <a14:foregroundMark x1="2340" y1="79255" x2="2340" y2="79255"/>
                        <a14:foregroundMark x1="5994" y1="83630" x2="5994" y2="83630"/>
                        <a14:backgroundMark x1="46314" y1="23438" x2="46314" y2="23438"/>
                        <a14:backgroundMark x1="46410" y1="25553" x2="46410" y2="255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7506" r="44804" b="15536"/>
          <a:stretch/>
        </p:blipFill>
        <p:spPr>
          <a:xfrm>
            <a:off x="-15532" y="-1017770"/>
            <a:ext cx="11096552" cy="1232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0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3DEAE60C-591C-4E26-9CE0-3C32C8459AE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506" b="15536"/>
          <a:stretch/>
        </p:blipFill>
        <p:spPr>
          <a:xfrm>
            <a:off x="1" y="-1017373"/>
            <a:ext cx="20104102" cy="12326326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0962DE9D-81CC-A063-5508-8705B9C51D67}"/>
              </a:ext>
            </a:extLst>
          </p:cNvPr>
          <p:cNvSpPr/>
          <p:nvPr/>
        </p:nvSpPr>
        <p:spPr>
          <a:xfrm>
            <a:off x="-1" y="397"/>
            <a:ext cx="20168465" cy="11308556"/>
          </a:xfrm>
          <a:prstGeom prst="rect">
            <a:avLst/>
          </a:prstGeom>
          <a:solidFill>
            <a:schemeClr val="bg1">
              <a:lumMod val="95000"/>
              <a:alpha val="8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968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6F3C41E-CF4B-4BE5-A020-E7397F876C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Slide do think-cell" r:id="rId5" imgW="348" imgH="346" progId="TCLayout.ActiveDocument.1">
                  <p:embed/>
                </p:oleObj>
              </mc:Choice>
              <mc:Fallback>
                <p:oleObj name="Slide do think-cell" r:id="rId5" imgW="348" imgH="34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96F3C41E-CF4B-4BE5-A020-E7397F876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A680E88F-DC17-4DD3-933F-BBC30AFA43B5}"/>
              </a:ext>
            </a:extLst>
          </p:cNvPr>
          <p:cNvSpPr/>
          <p:nvPr/>
        </p:nvSpPr>
        <p:spPr>
          <a:xfrm>
            <a:off x="16519909" y="5754963"/>
            <a:ext cx="152301" cy="152301"/>
          </a:xfrm>
          <a:prstGeom prst="ellipse">
            <a:avLst/>
          </a:prstGeom>
          <a:solidFill>
            <a:srgbClr val="FFE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xmlns="" id="{6975B86B-0371-90D5-7121-CAD177970D8D}"/>
              </a:ext>
            </a:extLst>
          </p:cNvPr>
          <p:cNvSpPr txBox="1">
            <a:spLocks/>
          </p:cNvSpPr>
          <p:nvPr/>
        </p:nvSpPr>
        <p:spPr>
          <a:xfrm>
            <a:off x="2210625" y="3111991"/>
            <a:ext cx="4829453" cy="622541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>
            <a:defPPr>
              <a:defRPr lang="pt-BR"/>
            </a:defPPr>
            <a:lvl1pPr marL="7701">
              <a:spcBef>
                <a:spcPts val="64"/>
              </a:spcBef>
              <a:defRPr sz="2400" b="1">
                <a:solidFill>
                  <a:srgbClr val="2A2C2F"/>
                </a:solidFill>
                <a:latin typeface="DIN Next Rounded LT Pro Bold"/>
                <a:cs typeface="DIN Next Rounded LT Pro Bold"/>
              </a:defRPr>
            </a:lvl1pPr>
          </a:lstStyle>
          <a:p>
            <a:r>
              <a:rPr lang="pt-BR" sz="3958" dirty="0"/>
              <a:t>A ABCON SINDCON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xmlns="" id="{65480DC8-E2E0-EF43-9F0E-4B96AD428586}"/>
              </a:ext>
            </a:extLst>
          </p:cNvPr>
          <p:cNvSpPr txBox="1"/>
          <p:nvPr/>
        </p:nvSpPr>
        <p:spPr>
          <a:xfrm>
            <a:off x="2210625" y="3914722"/>
            <a:ext cx="7380764" cy="5539141"/>
          </a:xfrm>
          <a:prstGeom prst="rect">
            <a:avLst/>
          </a:prstGeom>
        </p:spPr>
        <p:txBody>
          <a:bodyPr vert="horz" wrap="square" lIns="0" tIns="66036" rIns="0" bIns="0" rtlCol="0">
            <a:spAutoFit/>
          </a:bodyPr>
          <a:lstStyle/>
          <a:p>
            <a:pPr marL="12699" marR="81911" algn="just">
              <a:lnSpc>
                <a:spcPts val="2968"/>
              </a:lnSpc>
            </a:pP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undad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m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1996,</a:t>
            </a:r>
            <a:r>
              <a:rPr sz="2968" spc="-59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BCON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INDCON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-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sociação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indicat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cional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a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cessionária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vad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rviç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úblic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d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Água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sgot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49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ossui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tualment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:</a:t>
            </a:r>
            <a:endParaRPr lang="pt-BR" sz="2968" spc="-10" dirty="0">
              <a:solidFill>
                <a:srgbClr val="2A2C2F"/>
              </a:solidFill>
              <a:latin typeface="DIN Next Rounded LT Pro Light"/>
              <a:cs typeface="DIN Next Rounded LT Pro Light"/>
            </a:endParaRPr>
          </a:p>
          <a:p>
            <a:pPr marL="12699" marR="81911" algn="just">
              <a:lnSpc>
                <a:spcPts val="2968"/>
              </a:lnSpc>
            </a:pPr>
            <a:endParaRPr lang="pt-BR" sz="2968" spc="-10" dirty="0">
              <a:latin typeface="DIN Next Rounded LT Pro Light"/>
              <a:cs typeface="DIN Next Rounded LT Pro Light"/>
            </a:endParaRPr>
          </a:p>
          <a:p>
            <a:pPr marL="12699" marR="81911" algn="just">
              <a:lnSpc>
                <a:spcPts val="2968"/>
              </a:lnSpc>
            </a:pPr>
            <a:endParaRPr lang="pt-BR" sz="3958" b="1" spc="-10" dirty="0">
              <a:solidFill>
                <a:srgbClr val="2A2C2F"/>
              </a:solidFill>
              <a:latin typeface="DIN Next Rounded LT Pro Light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lang="pt-BR"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15</a:t>
            </a:r>
            <a:r>
              <a:rPr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395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Holdings</a:t>
            </a:r>
            <a:endParaRPr lang="pt-BR" sz="3958" spc="-10" dirty="0">
              <a:latin typeface="DIN Next Rounded LT Pro Bold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sz="39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DIN Next Rounded LT Pro Bold"/>
                <a:cs typeface="DIN Next Rounded LT Pro Bold"/>
              </a:rPr>
              <a:t>+</a:t>
            </a:r>
            <a:endParaRPr lang="pt-BR" sz="3958" dirty="0">
              <a:solidFill>
                <a:schemeClr val="tx1">
                  <a:lumMod val="85000"/>
                  <a:lumOff val="15000"/>
                </a:schemeClr>
              </a:solidFill>
              <a:latin typeface="DIN Next Rounded LT Pro Bold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1</a:t>
            </a:r>
            <a:r>
              <a:rPr lang="pt-BR"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23 </a:t>
            </a:r>
            <a:r>
              <a:rPr sz="3958" b="1" spc="-10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concessionária</a:t>
            </a:r>
            <a:r>
              <a:rPr lang="pt-BR" sz="395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s </a:t>
            </a:r>
            <a:r>
              <a:rPr sz="395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endParaRPr lang="pt-BR" sz="3958" b="1" spc="-10" dirty="0">
              <a:solidFill>
                <a:srgbClr val="2A2C2F"/>
              </a:solidFill>
              <a:latin typeface="DIN Next Rounded LT Pro Bold"/>
              <a:cs typeface="DIN Next Rounded LT Pro Bold"/>
            </a:endParaRPr>
          </a:p>
          <a:p>
            <a:pPr marL="12699" marR="81911" algn="ctr">
              <a:lnSpc>
                <a:spcPts val="2968"/>
              </a:lnSpc>
            </a:pPr>
            <a:r>
              <a:rPr sz="3958" b="1" spc="-10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associadas</a:t>
            </a:r>
            <a:endParaRPr lang="pt-BR" sz="3958" b="1" spc="-10" dirty="0">
              <a:solidFill>
                <a:srgbClr val="2A2C2F"/>
              </a:solidFill>
              <a:latin typeface="DIN Next Rounded LT Pro Bold"/>
              <a:cs typeface="DIN Next Rounded LT Pro Bold"/>
            </a:endParaRPr>
          </a:p>
          <a:p>
            <a:pPr algn="just">
              <a:spcBef>
                <a:spcPts val="54"/>
              </a:spcBef>
            </a:pPr>
            <a:endParaRPr sz="2950" dirty="0">
              <a:latin typeface="DIN Next Rounded LT Pro Bold"/>
              <a:cs typeface="DIN Next Rounded LT Pro Bold"/>
            </a:endParaRPr>
          </a:p>
          <a:p>
            <a:pPr marL="12699" marR="5081" algn="just">
              <a:lnSpc>
                <a:spcPts val="2968"/>
              </a:lnSpc>
            </a:pP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qu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representa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lang="pt-BR" sz="296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mais de</a:t>
            </a:r>
            <a:r>
              <a:rPr sz="296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lang="pt-BR" sz="296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90</a:t>
            </a:r>
            <a:r>
              <a:rPr sz="2968" b="1" spc="-10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% </a:t>
            </a:r>
            <a:r>
              <a:rPr sz="296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d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população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atendid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pel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iniciativa</a:t>
            </a:r>
            <a:r>
              <a:rPr sz="2968" b="1" spc="-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privada</a:t>
            </a:r>
            <a:r>
              <a:rPr sz="2968" b="1" spc="15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m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rviço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d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água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u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sgot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no 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rasil.</a:t>
            </a:r>
            <a:endParaRPr sz="2968" dirty="0">
              <a:latin typeface="DIN Next Rounded LT Pro Light"/>
              <a:cs typeface="DIN Next Rounded LT Pro Light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xmlns="" id="{D38A7E12-95B6-27E0-52BB-258225289B9D}"/>
              </a:ext>
            </a:extLst>
          </p:cNvPr>
          <p:cNvSpPr txBox="1"/>
          <p:nvPr/>
        </p:nvSpPr>
        <p:spPr>
          <a:xfrm>
            <a:off x="10200947" y="3125551"/>
            <a:ext cx="4185407" cy="622541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>
              <a:spcBef>
                <a:spcPts val="106"/>
              </a:spcBef>
            </a:pPr>
            <a:r>
              <a:rPr sz="3958" b="1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Nossa</a:t>
            </a:r>
            <a:r>
              <a:rPr sz="3958" b="1" dirty="0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 </a:t>
            </a:r>
            <a:r>
              <a:rPr sz="3958" b="1" spc="-10" dirty="0" err="1">
                <a:solidFill>
                  <a:srgbClr val="2A2C2F"/>
                </a:solidFill>
                <a:latin typeface="DIN Next Rounded LT Pro Bold"/>
                <a:cs typeface="DIN Next Rounded LT Pro Bold"/>
              </a:rPr>
              <a:t>Missão</a:t>
            </a:r>
            <a:endParaRPr sz="3958" dirty="0">
              <a:latin typeface="DIN Next Rounded LT Pro Bold"/>
              <a:cs typeface="DIN Next Rounded LT Pro Bold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xmlns="" id="{93F82293-2BB5-063E-99A6-44AD1A48E5EC}"/>
              </a:ext>
            </a:extLst>
          </p:cNvPr>
          <p:cNvSpPr txBox="1"/>
          <p:nvPr/>
        </p:nvSpPr>
        <p:spPr>
          <a:xfrm>
            <a:off x="10157612" y="4007411"/>
            <a:ext cx="9632362" cy="5457067"/>
          </a:xfrm>
          <a:prstGeom prst="rect">
            <a:avLst/>
          </a:prstGeom>
        </p:spPr>
        <p:txBody>
          <a:bodyPr vert="horz" wrap="square" lIns="0" tIns="66036" rIns="0" bIns="0" rtlCol="0">
            <a:spAutoFit/>
          </a:bodyPr>
          <a:lstStyle/>
          <a:p>
            <a:pPr marL="12699" marR="381617">
              <a:lnSpc>
                <a:spcPts val="2968"/>
              </a:lnSpc>
            </a:pP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Viabilizar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diçõe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ar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que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tor</a:t>
            </a:r>
            <a:r>
              <a:rPr sz="2968" spc="52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vado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ja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otagonista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universalização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aneament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ásic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no 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rasil.</a:t>
            </a:r>
            <a:endParaRPr sz="2968" dirty="0">
              <a:latin typeface="DIN Next Rounded LT Pro Light"/>
              <a:cs typeface="DIN Next Rounded LT Pro Light"/>
            </a:endParaRPr>
          </a:p>
          <a:p>
            <a:pPr>
              <a:lnSpc>
                <a:spcPts val="2968"/>
              </a:lnSpc>
            </a:pPr>
            <a:endParaRPr sz="2968" dirty="0">
              <a:latin typeface="DIN Next Rounded LT Pro Light"/>
              <a:cs typeface="DIN Next Rounded LT Pro Light"/>
            </a:endParaRPr>
          </a:p>
          <a:p>
            <a:pPr marL="12699" marR="885783" algn="just">
              <a:lnSpc>
                <a:spcPts val="2968"/>
              </a:lnSpc>
            </a:pP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tuamos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orm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fetiv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rticulação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interesses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tor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junt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rganismos</a:t>
            </a:r>
            <a:r>
              <a:rPr lang="pt-BR"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governamentai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81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gresso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cional,</a:t>
            </a:r>
            <a:r>
              <a:rPr sz="2968" spc="-6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semblei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Legislativa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86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ntidades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representativas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acionais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49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internacionais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406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mercado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inanceiro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7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ntre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utros.</a:t>
            </a:r>
            <a:endParaRPr sz="2968" dirty="0">
              <a:latin typeface="DIN Next Rounded LT Pro Light"/>
              <a:cs typeface="DIN Next Rounded LT Pro Light"/>
            </a:endParaRPr>
          </a:p>
          <a:p>
            <a:pPr>
              <a:lnSpc>
                <a:spcPts val="2968"/>
              </a:lnSpc>
            </a:pPr>
            <a:endParaRPr sz="2968" dirty="0">
              <a:latin typeface="DIN Next Rounded LT Pro Light"/>
              <a:cs typeface="DIN Next Rounded LT Pro Light"/>
            </a:endParaRPr>
          </a:p>
          <a:p>
            <a:pPr marL="12699" marR="267323">
              <a:lnSpc>
                <a:spcPts val="2968"/>
              </a:lnSpc>
            </a:pP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m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fort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esença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no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mbient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institucional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brasileiro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</a:t>
            </a:r>
            <a:r>
              <a:rPr sz="2968" spc="-54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stamos</a:t>
            </a:r>
            <a:r>
              <a:rPr sz="2968" spc="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struindo</a:t>
            </a:r>
            <a:r>
              <a:rPr sz="2968" spc="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s</a:t>
            </a:r>
            <a:r>
              <a:rPr sz="2968" spc="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ontes</a:t>
            </a:r>
            <a:r>
              <a:rPr sz="2968" spc="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2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m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ncipai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tore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úblic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privado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o</a:t>
            </a:r>
            <a:r>
              <a:rPr sz="2968" spc="-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35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setor</a:t>
            </a:r>
            <a:r>
              <a:rPr sz="2968" spc="-3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,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ntre</a:t>
            </a:r>
            <a:r>
              <a:rPr sz="2968" spc="-3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os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quais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órgãos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de</a:t>
            </a:r>
            <a:r>
              <a:rPr sz="2968" spc="-2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control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e</a:t>
            </a:r>
            <a:r>
              <a:rPr sz="2968" spc="-15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agênci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 </a:t>
            </a:r>
            <a:r>
              <a:rPr sz="2968" spc="-10" dirty="0" err="1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reguladoras</a:t>
            </a:r>
            <a:r>
              <a:rPr sz="2968" spc="-10" dirty="0">
                <a:solidFill>
                  <a:srgbClr val="2A2C2F"/>
                </a:solidFill>
                <a:latin typeface="DIN Next Rounded LT Pro Light"/>
                <a:cs typeface="DIN Next Rounded LT Pro Light"/>
              </a:rPr>
              <a:t>.</a:t>
            </a:r>
            <a:endParaRPr sz="2968" dirty="0">
              <a:latin typeface="DIN Next Rounded LT Pro Light"/>
              <a:cs typeface="DIN Next Rounded LT Pro Light"/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xmlns="" id="{129608E8-FE7A-F497-8CCB-22C401E70F89}"/>
              </a:ext>
            </a:extLst>
          </p:cNvPr>
          <p:cNvGrpSpPr/>
          <p:nvPr/>
        </p:nvGrpSpPr>
        <p:grpSpPr>
          <a:xfrm>
            <a:off x="5516542" y="1223857"/>
            <a:ext cx="9071039" cy="1238163"/>
            <a:chOff x="5516224" y="1909393"/>
            <a:chExt cx="9071676" cy="1238250"/>
          </a:xfrm>
        </p:grpSpPr>
        <p:sp>
          <p:nvSpPr>
            <p:cNvPr id="14" name="object 12">
              <a:extLst>
                <a:ext uri="{FF2B5EF4-FFF2-40B4-BE49-F238E27FC236}">
                  <a16:creationId xmlns:a16="http://schemas.microsoft.com/office/drawing/2014/main" xmlns="" id="{27EFCD0B-6C6C-F4F6-A3D9-0517984AEB59}"/>
                </a:ext>
              </a:extLst>
            </p:cNvPr>
            <p:cNvSpPr/>
            <p:nvPr/>
          </p:nvSpPr>
          <p:spPr>
            <a:xfrm>
              <a:off x="10429477" y="2332130"/>
              <a:ext cx="521970" cy="652780"/>
            </a:xfrm>
            <a:custGeom>
              <a:avLst/>
              <a:gdLst/>
              <a:ahLst/>
              <a:cxnLst/>
              <a:rect l="l" t="t" r="r" b="b"/>
              <a:pathLst>
                <a:path w="521970" h="652780">
                  <a:moveTo>
                    <a:pt x="260777" y="0"/>
                  </a:moveTo>
                  <a:lnTo>
                    <a:pt x="199655" y="3042"/>
                  </a:lnTo>
                  <a:lnTo>
                    <a:pt x="146684" y="12168"/>
                  </a:lnTo>
                  <a:lnTo>
                    <a:pt x="101863" y="27379"/>
                  </a:lnTo>
                  <a:lnTo>
                    <a:pt x="65191" y="48673"/>
                  </a:lnTo>
                  <a:lnTo>
                    <a:pt x="36669" y="76052"/>
                  </a:lnTo>
                  <a:lnTo>
                    <a:pt x="16297" y="109516"/>
                  </a:lnTo>
                  <a:lnTo>
                    <a:pt x="4074" y="149063"/>
                  </a:lnTo>
                  <a:lnTo>
                    <a:pt x="0" y="194695"/>
                  </a:lnTo>
                  <a:lnTo>
                    <a:pt x="5797" y="248201"/>
                  </a:lnTo>
                  <a:lnTo>
                    <a:pt x="23190" y="292930"/>
                  </a:lnTo>
                  <a:lnTo>
                    <a:pt x="52178" y="328884"/>
                  </a:lnTo>
                  <a:lnTo>
                    <a:pt x="92761" y="356062"/>
                  </a:lnTo>
                  <a:lnTo>
                    <a:pt x="159991" y="377132"/>
                  </a:lnTo>
                  <a:lnTo>
                    <a:pt x="204859" y="384233"/>
                  </a:lnTo>
                  <a:lnTo>
                    <a:pt x="257227" y="389045"/>
                  </a:lnTo>
                  <a:lnTo>
                    <a:pt x="298284" y="392593"/>
                  </a:lnTo>
                  <a:lnTo>
                    <a:pt x="331267" y="397062"/>
                  </a:lnTo>
                  <a:lnTo>
                    <a:pt x="373014" y="408856"/>
                  </a:lnTo>
                  <a:lnTo>
                    <a:pt x="394888" y="457075"/>
                  </a:lnTo>
                  <a:lnTo>
                    <a:pt x="394560" y="469170"/>
                  </a:lnTo>
                  <a:lnTo>
                    <a:pt x="359575" y="511148"/>
                  </a:lnTo>
                  <a:lnTo>
                    <a:pt x="300995" y="523516"/>
                  </a:lnTo>
                  <a:lnTo>
                    <a:pt x="260777" y="525104"/>
                  </a:lnTo>
                  <a:lnTo>
                    <a:pt x="220569" y="523586"/>
                  </a:lnTo>
                  <a:lnTo>
                    <a:pt x="162105" y="511107"/>
                  </a:lnTo>
                  <a:lnTo>
                    <a:pt x="130121" y="480342"/>
                  </a:lnTo>
                  <a:lnTo>
                    <a:pt x="126666" y="456499"/>
                  </a:lnTo>
                  <a:lnTo>
                    <a:pt x="0" y="456499"/>
                  </a:lnTo>
                  <a:lnTo>
                    <a:pt x="4045" y="502399"/>
                  </a:lnTo>
                  <a:lnTo>
                    <a:pt x="16244" y="542180"/>
                  </a:lnTo>
                  <a:lnTo>
                    <a:pt x="36596" y="575842"/>
                  </a:lnTo>
                  <a:lnTo>
                    <a:pt x="65102" y="603383"/>
                  </a:lnTo>
                  <a:lnTo>
                    <a:pt x="101762" y="624804"/>
                  </a:lnTo>
                  <a:lnTo>
                    <a:pt x="146575" y="640105"/>
                  </a:lnTo>
                  <a:lnTo>
                    <a:pt x="199542" y="649286"/>
                  </a:lnTo>
                  <a:lnTo>
                    <a:pt x="260662" y="652346"/>
                  </a:lnTo>
                  <a:lnTo>
                    <a:pt x="321783" y="649304"/>
                  </a:lnTo>
                  <a:lnTo>
                    <a:pt x="374755" y="640178"/>
                  </a:lnTo>
                  <a:lnTo>
                    <a:pt x="419576" y="624967"/>
                  </a:lnTo>
                  <a:lnTo>
                    <a:pt x="456247" y="603672"/>
                  </a:lnTo>
                  <a:lnTo>
                    <a:pt x="484769" y="576293"/>
                  </a:lnTo>
                  <a:lnTo>
                    <a:pt x="505142" y="542830"/>
                  </a:lnTo>
                  <a:lnTo>
                    <a:pt x="517365" y="503282"/>
                  </a:lnTo>
                  <a:lnTo>
                    <a:pt x="521439" y="457650"/>
                  </a:lnTo>
                  <a:lnTo>
                    <a:pt x="515714" y="404494"/>
                  </a:lnTo>
                  <a:lnTo>
                    <a:pt x="498537" y="359900"/>
                  </a:lnTo>
                  <a:lnTo>
                    <a:pt x="469906" y="323865"/>
                  </a:lnTo>
                  <a:lnTo>
                    <a:pt x="429819" y="296388"/>
                  </a:lnTo>
                  <a:lnTo>
                    <a:pt x="361873" y="275263"/>
                  </a:lnTo>
                  <a:lnTo>
                    <a:pt x="317146" y="268176"/>
                  </a:lnTo>
                  <a:lnTo>
                    <a:pt x="265248" y="263405"/>
                  </a:lnTo>
                  <a:lnTo>
                    <a:pt x="224108" y="259864"/>
                  </a:lnTo>
                  <a:lnTo>
                    <a:pt x="191271" y="255578"/>
                  </a:lnTo>
                  <a:lnTo>
                    <a:pt x="150717" y="244736"/>
                  </a:lnTo>
                  <a:lnTo>
                    <a:pt x="128395" y="212271"/>
                  </a:lnTo>
                  <a:lnTo>
                    <a:pt x="126896" y="195261"/>
                  </a:lnTo>
                  <a:lnTo>
                    <a:pt x="127260" y="183170"/>
                  </a:lnTo>
                  <a:lnTo>
                    <a:pt x="162331" y="141217"/>
                  </a:lnTo>
                  <a:lnTo>
                    <a:pt x="220799" y="128786"/>
                  </a:lnTo>
                  <a:lnTo>
                    <a:pt x="261007" y="127231"/>
                  </a:lnTo>
                  <a:lnTo>
                    <a:pt x="301211" y="128727"/>
                  </a:lnTo>
                  <a:lnTo>
                    <a:pt x="359677" y="140695"/>
                  </a:lnTo>
                  <a:lnTo>
                    <a:pt x="391543" y="170629"/>
                  </a:lnTo>
                  <a:lnTo>
                    <a:pt x="395003" y="194119"/>
                  </a:lnTo>
                  <a:lnTo>
                    <a:pt x="521785" y="194119"/>
                  </a:lnTo>
                  <a:lnTo>
                    <a:pt x="517655" y="148620"/>
                  </a:lnTo>
                  <a:lnTo>
                    <a:pt x="505383" y="109189"/>
                  </a:lnTo>
                  <a:lnTo>
                    <a:pt x="484970" y="75824"/>
                  </a:lnTo>
                  <a:lnTo>
                    <a:pt x="456415" y="48527"/>
                  </a:lnTo>
                  <a:lnTo>
                    <a:pt x="419718" y="27296"/>
                  </a:lnTo>
                  <a:lnTo>
                    <a:pt x="374879" y="12131"/>
                  </a:lnTo>
                  <a:lnTo>
                    <a:pt x="321899" y="3032"/>
                  </a:lnTo>
                  <a:lnTo>
                    <a:pt x="260777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37" name="object 13">
              <a:extLst>
                <a:ext uri="{FF2B5EF4-FFF2-40B4-BE49-F238E27FC236}">
                  <a16:creationId xmlns:a16="http://schemas.microsoft.com/office/drawing/2014/main" xmlns="" id="{01F33D49-BAFD-4282-335B-1BDFDD2DE18C}"/>
                </a:ext>
              </a:extLst>
            </p:cNvPr>
            <p:cNvSpPr/>
            <p:nvPr/>
          </p:nvSpPr>
          <p:spPr>
            <a:xfrm>
              <a:off x="11034187" y="2076617"/>
              <a:ext cx="127000" cy="126364"/>
            </a:xfrm>
            <a:custGeom>
              <a:avLst/>
              <a:gdLst/>
              <a:ahLst/>
              <a:cxnLst/>
              <a:rect l="l" t="t" r="r" b="b"/>
              <a:pathLst>
                <a:path w="127000" h="126364">
                  <a:moveTo>
                    <a:pt x="126666" y="0"/>
                  </a:moveTo>
                  <a:lnTo>
                    <a:pt x="0" y="0"/>
                  </a:lnTo>
                  <a:lnTo>
                    <a:pt x="0" y="125975"/>
                  </a:lnTo>
                  <a:lnTo>
                    <a:pt x="126666" y="125975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38" name="object 14">
              <a:extLst>
                <a:ext uri="{FF2B5EF4-FFF2-40B4-BE49-F238E27FC236}">
                  <a16:creationId xmlns:a16="http://schemas.microsoft.com/office/drawing/2014/main" xmlns="" id="{0ADE42BE-8592-9E3D-4936-233F8FDC8C4C}"/>
                </a:ext>
              </a:extLst>
            </p:cNvPr>
            <p:cNvSpPr/>
            <p:nvPr/>
          </p:nvSpPr>
          <p:spPr>
            <a:xfrm>
              <a:off x="11034176" y="2332578"/>
              <a:ext cx="127000" cy="650240"/>
            </a:xfrm>
            <a:custGeom>
              <a:avLst/>
              <a:gdLst/>
              <a:ahLst/>
              <a:cxnLst/>
              <a:rect l="l" t="t" r="r" b="b"/>
              <a:pathLst>
                <a:path w="127000" h="650239">
                  <a:moveTo>
                    <a:pt x="126666" y="0"/>
                  </a:moveTo>
                  <a:lnTo>
                    <a:pt x="0" y="0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39" name="object 15">
              <a:extLst>
                <a:ext uri="{FF2B5EF4-FFF2-40B4-BE49-F238E27FC236}">
                  <a16:creationId xmlns:a16="http://schemas.microsoft.com/office/drawing/2014/main" xmlns="" id="{7DC53CD6-ABE2-0506-7557-9A273D3BC04F}"/>
                </a:ext>
              </a:extLst>
            </p:cNvPr>
            <p:cNvSpPr/>
            <p:nvPr/>
          </p:nvSpPr>
          <p:spPr>
            <a:xfrm>
              <a:off x="11259572" y="2332580"/>
              <a:ext cx="603885" cy="650240"/>
            </a:xfrm>
            <a:custGeom>
              <a:avLst/>
              <a:gdLst/>
              <a:ahLst/>
              <a:cxnLst/>
              <a:rect l="l" t="t" r="r" b="b"/>
              <a:pathLst>
                <a:path w="603884" h="650239">
                  <a:moveTo>
                    <a:pt x="302242" y="0"/>
                  </a:moveTo>
                  <a:lnTo>
                    <a:pt x="249787" y="2690"/>
                  </a:lnTo>
                  <a:lnTo>
                    <a:pt x="202328" y="10760"/>
                  </a:lnTo>
                  <a:lnTo>
                    <a:pt x="159865" y="24210"/>
                  </a:lnTo>
                  <a:lnTo>
                    <a:pt x="122397" y="43040"/>
                  </a:lnTo>
                  <a:lnTo>
                    <a:pt x="89924" y="67250"/>
                  </a:lnTo>
                  <a:lnTo>
                    <a:pt x="62447" y="96840"/>
                  </a:lnTo>
                  <a:lnTo>
                    <a:pt x="39966" y="131810"/>
                  </a:lnTo>
                  <a:lnTo>
                    <a:pt x="22481" y="172160"/>
                  </a:lnTo>
                  <a:lnTo>
                    <a:pt x="9991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781" y="649718"/>
                  </a:lnTo>
                  <a:lnTo>
                    <a:pt x="126781" y="325487"/>
                  </a:lnTo>
                  <a:lnTo>
                    <a:pt x="128842" y="279241"/>
                  </a:lnTo>
                  <a:lnTo>
                    <a:pt x="135027" y="239910"/>
                  </a:lnTo>
                  <a:lnTo>
                    <a:pt x="159764" y="181983"/>
                  </a:lnTo>
                  <a:lnTo>
                    <a:pt x="215999" y="140584"/>
                  </a:lnTo>
                  <a:lnTo>
                    <a:pt x="255370" y="130232"/>
                  </a:lnTo>
                  <a:lnTo>
                    <a:pt x="302242" y="126781"/>
                  </a:lnTo>
                  <a:lnTo>
                    <a:pt x="349047" y="130195"/>
                  </a:lnTo>
                  <a:lnTo>
                    <a:pt x="388221" y="140439"/>
                  </a:lnTo>
                  <a:lnTo>
                    <a:pt x="443682" y="181418"/>
                  </a:lnTo>
                  <a:lnTo>
                    <a:pt x="468335" y="239281"/>
                  </a:lnTo>
                  <a:lnTo>
                    <a:pt x="474497" y="278629"/>
                  </a:lnTo>
                  <a:lnTo>
                    <a:pt x="476550" y="324922"/>
                  </a:lnTo>
                  <a:lnTo>
                    <a:pt x="476550" y="649718"/>
                  </a:lnTo>
                  <a:lnTo>
                    <a:pt x="603332" y="649718"/>
                  </a:lnTo>
                  <a:lnTo>
                    <a:pt x="603332" y="325487"/>
                  </a:lnTo>
                  <a:lnTo>
                    <a:pt x="601033" y="268998"/>
                  </a:lnTo>
                  <a:lnTo>
                    <a:pt x="593720" y="217889"/>
                  </a:lnTo>
                  <a:lnTo>
                    <a:pt x="581392" y="172160"/>
                  </a:lnTo>
                  <a:lnTo>
                    <a:pt x="564049" y="131810"/>
                  </a:lnTo>
                  <a:lnTo>
                    <a:pt x="541692" y="96840"/>
                  </a:lnTo>
                  <a:lnTo>
                    <a:pt x="514320" y="67250"/>
                  </a:lnTo>
                  <a:lnTo>
                    <a:pt x="481933" y="43040"/>
                  </a:lnTo>
                  <a:lnTo>
                    <a:pt x="444532" y="24210"/>
                  </a:lnTo>
                  <a:lnTo>
                    <a:pt x="402117" y="10760"/>
                  </a:lnTo>
                  <a:lnTo>
                    <a:pt x="354686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0" name="object 16">
              <a:extLst>
                <a:ext uri="{FF2B5EF4-FFF2-40B4-BE49-F238E27FC236}">
                  <a16:creationId xmlns:a16="http://schemas.microsoft.com/office/drawing/2014/main" xmlns="" id="{4A628190-421D-9DF7-0DF8-92D8579998E2}"/>
                </a:ext>
              </a:extLst>
            </p:cNvPr>
            <p:cNvSpPr/>
            <p:nvPr/>
          </p:nvSpPr>
          <p:spPr>
            <a:xfrm>
              <a:off x="11952696" y="2076384"/>
              <a:ext cx="603885" cy="907415"/>
            </a:xfrm>
            <a:custGeom>
              <a:avLst/>
              <a:gdLst/>
              <a:ahLst/>
              <a:cxnLst/>
              <a:rect l="l" t="t" r="r" b="b"/>
              <a:pathLst>
                <a:path w="603884" h="907414">
                  <a:moveTo>
                    <a:pt x="603562" y="0"/>
                  </a:moveTo>
                  <a:lnTo>
                    <a:pt x="476550" y="0"/>
                  </a:lnTo>
                  <a:lnTo>
                    <a:pt x="476550" y="256201"/>
                  </a:lnTo>
                  <a:lnTo>
                    <a:pt x="302242" y="256201"/>
                  </a:lnTo>
                  <a:lnTo>
                    <a:pt x="249787" y="258904"/>
                  </a:lnTo>
                  <a:lnTo>
                    <a:pt x="202328" y="266974"/>
                  </a:lnTo>
                  <a:lnTo>
                    <a:pt x="159865" y="280411"/>
                  </a:lnTo>
                  <a:lnTo>
                    <a:pt x="122397" y="299215"/>
                  </a:lnTo>
                  <a:lnTo>
                    <a:pt x="89924" y="323385"/>
                  </a:lnTo>
                  <a:lnTo>
                    <a:pt x="62447" y="352922"/>
                  </a:lnTo>
                  <a:lnTo>
                    <a:pt x="39966" y="387826"/>
                  </a:lnTo>
                  <a:lnTo>
                    <a:pt x="22481" y="428097"/>
                  </a:lnTo>
                  <a:lnTo>
                    <a:pt x="9991" y="473735"/>
                  </a:lnTo>
                  <a:lnTo>
                    <a:pt x="2497" y="524740"/>
                  </a:lnTo>
                  <a:lnTo>
                    <a:pt x="0" y="581113"/>
                  </a:lnTo>
                  <a:lnTo>
                    <a:pt x="2765" y="637720"/>
                  </a:lnTo>
                  <a:lnTo>
                    <a:pt x="10479" y="688935"/>
                  </a:lnTo>
                  <a:lnTo>
                    <a:pt x="23142" y="734756"/>
                  </a:lnTo>
                  <a:lnTo>
                    <a:pt x="40753" y="775185"/>
                  </a:lnTo>
                  <a:lnTo>
                    <a:pt x="63312" y="810220"/>
                  </a:lnTo>
                  <a:lnTo>
                    <a:pt x="90820" y="839862"/>
                  </a:lnTo>
                  <a:lnTo>
                    <a:pt x="123275" y="864111"/>
                  </a:lnTo>
                  <a:lnTo>
                    <a:pt x="160679" y="882967"/>
                  </a:lnTo>
                  <a:lnTo>
                    <a:pt x="203030" y="896430"/>
                  </a:lnTo>
                  <a:lnTo>
                    <a:pt x="250330" y="904500"/>
                  </a:lnTo>
                  <a:lnTo>
                    <a:pt x="302577" y="907176"/>
                  </a:lnTo>
                  <a:lnTo>
                    <a:pt x="354813" y="904461"/>
                  </a:lnTo>
                  <a:lnTo>
                    <a:pt x="402075" y="896361"/>
                  </a:lnTo>
                  <a:lnTo>
                    <a:pt x="444362" y="882875"/>
                  </a:lnTo>
                  <a:lnTo>
                    <a:pt x="481674" y="864005"/>
                  </a:lnTo>
                  <a:lnTo>
                    <a:pt x="514011" y="839749"/>
                  </a:lnTo>
                  <a:lnTo>
                    <a:pt x="541374" y="810107"/>
                  </a:lnTo>
                  <a:lnTo>
                    <a:pt x="559709" y="781421"/>
                  </a:lnTo>
                  <a:lnTo>
                    <a:pt x="302577" y="781421"/>
                  </a:lnTo>
                  <a:lnTo>
                    <a:pt x="255825" y="777991"/>
                  </a:lnTo>
                  <a:lnTo>
                    <a:pt x="216687" y="767590"/>
                  </a:lnTo>
                  <a:lnTo>
                    <a:pt x="161251" y="725873"/>
                  </a:lnTo>
                  <a:lnTo>
                    <a:pt x="136658" y="667665"/>
                  </a:lnTo>
                  <a:lnTo>
                    <a:pt x="130479" y="628148"/>
                  </a:lnTo>
                  <a:lnTo>
                    <a:pt x="128383" y="581689"/>
                  </a:lnTo>
                  <a:lnTo>
                    <a:pt x="130396" y="535209"/>
                  </a:lnTo>
                  <a:lnTo>
                    <a:pt x="136544" y="495647"/>
                  </a:lnTo>
                  <a:lnTo>
                    <a:pt x="161251" y="437264"/>
                  </a:lnTo>
                  <a:lnTo>
                    <a:pt x="216687" y="396553"/>
                  </a:lnTo>
                  <a:lnTo>
                    <a:pt x="255825" y="386375"/>
                  </a:lnTo>
                  <a:lnTo>
                    <a:pt x="302577" y="382983"/>
                  </a:lnTo>
                  <a:lnTo>
                    <a:pt x="603562" y="382983"/>
                  </a:lnTo>
                  <a:lnTo>
                    <a:pt x="603562" y="0"/>
                  </a:lnTo>
                  <a:close/>
                </a:path>
                <a:path w="603884" h="907414">
                  <a:moveTo>
                    <a:pt x="603562" y="382983"/>
                  </a:moveTo>
                  <a:lnTo>
                    <a:pt x="476896" y="382983"/>
                  </a:lnTo>
                  <a:lnTo>
                    <a:pt x="476870" y="581689"/>
                  </a:lnTo>
                  <a:lnTo>
                    <a:pt x="474835" y="627525"/>
                  </a:lnTo>
                  <a:lnTo>
                    <a:pt x="468650" y="667122"/>
                  </a:lnTo>
                  <a:lnTo>
                    <a:pt x="443913" y="725873"/>
                  </a:lnTo>
                  <a:lnTo>
                    <a:pt x="388476" y="767480"/>
                  </a:lnTo>
                  <a:lnTo>
                    <a:pt x="349335" y="777908"/>
                  </a:lnTo>
                  <a:lnTo>
                    <a:pt x="302577" y="781421"/>
                  </a:lnTo>
                  <a:lnTo>
                    <a:pt x="559709" y="781421"/>
                  </a:lnTo>
                  <a:lnTo>
                    <a:pt x="581174" y="734667"/>
                  </a:lnTo>
                  <a:lnTo>
                    <a:pt x="593612" y="688869"/>
                  </a:lnTo>
                  <a:lnTo>
                    <a:pt x="601075" y="637684"/>
                  </a:lnTo>
                  <a:lnTo>
                    <a:pt x="603537" y="581689"/>
                  </a:lnTo>
                  <a:lnTo>
                    <a:pt x="603562" y="382983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1" name="object 17">
              <a:extLst>
                <a:ext uri="{FF2B5EF4-FFF2-40B4-BE49-F238E27FC236}">
                  <a16:creationId xmlns:a16="http://schemas.microsoft.com/office/drawing/2014/main" xmlns="" id="{3C39E7BA-EB80-84AE-B93A-ACD0F622ABB0}"/>
                </a:ext>
              </a:extLst>
            </p:cNvPr>
            <p:cNvSpPr/>
            <p:nvPr/>
          </p:nvSpPr>
          <p:spPr>
            <a:xfrm>
              <a:off x="12651313" y="2332580"/>
              <a:ext cx="588010" cy="650240"/>
            </a:xfrm>
            <a:custGeom>
              <a:avLst/>
              <a:gdLst/>
              <a:ahLst/>
              <a:cxnLst/>
              <a:rect l="l" t="t" r="r" b="b"/>
              <a:pathLst>
                <a:path w="588009" h="650239">
                  <a:moveTo>
                    <a:pt x="301100" y="0"/>
                  </a:moveTo>
                  <a:lnTo>
                    <a:pt x="248842" y="2471"/>
                  </a:lnTo>
                  <a:lnTo>
                    <a:pt x="201562" y="10344"/>
                  </a:lnTo>
                  <a:lnTo>
                    <a:pt x="159258" y="23618"/>
                  </a:lnTo>
                  <a:lnTo>
                    <a:pt x="121931" y="42292"/>
                  </a:lnTo>
                  <a:lnTo>
                    <a:pt x="89582" y="66367"/>
                  </a:lnTo>
                  <a:lnTo>
                    <a:pt x="62209" y="95843"/>
                  </a:lnTo>
                  <a:lnTo>
                    <a:pt x="39814" y="130720"/>
                  </a:lnTo>
                  <a:lnTo>
                    <a:pt x="22395" y="170997"/>
                  </a:lnTo>
                  <a:lnTo>
                    <a:pt x="9953" y="216674"/>
                  </a:lnTo>
                  <a:lnTo>
                    <a:pt x="2488" y="267752"/>
                  </a:lnTo>
                  <a:lnTo>
                    <a:pt x="0" y="324230"/>
                  </a:lnTo>
                  <a:lnTo>
                    <a:pt x="2488" y="380719"/>
                  </a:lnTo>
                  <a:lnTo>
                    <a:pt x="9953" y="431828"/>
                  </a:lnTo>
                  <a:lnTo>
                    <a:pt x="22395" y="477558"/>
                  </a:lnTo>
                  <a:lnTo>
                    <a:pt x="39814" y="517907"/>
                  </a:lnTo>
                  <a:lnTo>
                    <a:pt x="62209" y="552877"/>
                  </a:lnTo>
                  <a:lnTo>
                    <a:pt x="89582" y="582467"/>
                  </a:lnTo>
                  <a:lnTo>
                    <a:pt x="121931" y="606677"/>
                  </a:lnTo>
                  <a:lnTo>
                    <a:pt x="159258" y="625508"/>
                  </a:lnTo>
                  <a:lnTo>
                    <a:pt x="201562" y="638958"/>
                  </a:lnTo>
                  <a:lnTo>
                    <a:pt x="248842" y="647028"/>
                  </a:lnTo>
                  <a:lnTo>
                    <a:pt x="301100" y="649718"/>
                  </a:lnTo>
                  <a:lnTo>
                    <a:pt x="356757" y="646615"/>
                  </a:lnTo>
                  <a:lnTo>
                    <a:pt x="406737" y="637306"/>
                  </a:lnTo>
                  <a:lnTo>
                    <a:pt x="451041" y="621791"/>
                  </a:lnTo>
                  <a:lnTo>
                    <a:pt x="489669" y="600070"/>
                  </a:lnTo>
                  <a:lnTo>
                    <a:pt x="522621" y="572143"/>
                  </a:lnTo>
                  <a:lnTo>
                    <a:pt x="549896" y="538011"/>
                  </a:lnTo>
                  <a:lnTo>
                    <a:pt x="571494" y="497672"/>
                  </a:lnTo>
                  <a:lnTo>
                    <a:pt x="587416" y="451127"/>
                  </a:lnTo>
                  <a:lnTo>
                    <a:pt x="453996" y="451127"/>
                  </a:lnTo>
                  <a:lnTo>
                    <a:pt x="430299" y="482744"/>
                  </a:lnTo>
                  <a:lnTo>
                    <a:pt x="397012" y="505328"/>
                  </a:lnTo>
                  <a:lnTo>
                    <a:pt x="354135" y="518880"/>
                  </a:lnTo>
                  <a:lnTo>
                    <a:pt x="301666" y="523397"/>
                  </a:lnTo>
                  <a:lnTo>
                    <a:pt x="254826" y="519940"/>
                  </a:lnTo>
                  <a:lnTo>
                    <a:pt x="215658" y="509568"/>
                  </a:lnTo>
                  <a:lnTo>
                    <a:pt x="160340" y="468079"/>
                  </a:lnTo>
                  <a:lnTo>
                    <a:pt x="135173" y="410382"/>
                  </a:lnTo>
                  <a:lnTo>
                    <a:pt x="128879" y="371079"/>
                  </a:lnTo>
                  <a:lnTo>
                    <a:pt x="126781" y="324806"/>
                  </a:lnTo>
                  <a:lnTo>
                    <a:pt x="128842" y="278492"/>
                  </a:lnTo>
                  <a:lnTo>
                    <a:pt x="135027" y="239080"/>
                  </a:lnTo>
                  <a:lnTo>
                    <a:pt x="159764" y="180957"/>
                  </a:lnTo>
                  <a:lnTo>
                    <a:pt x="215142" y="140326"/>
                  </a:lnTo>
                  <a:lnTo>
                    <a:pt x="254300" y="130167"/>
                  </a:lnTo>
                  <a:lnTo>
                    <a:pt x="301100" y="126781"/>
                  </a:lnTo>
                  <a:lnTo>
                    <a:pt x="354040" y="131191"/>
                  </a:lnTo>
                  <a:lnTo>
                    <a:pt x="397074" y="144419"/>
                  </a:lnTo>
                  <a:lnTo>
                    <a:pt x="430200" y="166467"/>
                  </a:lnTo>
                  <a:lnTo>
                    <a:pt x="453420" y="197334"/>
                  </a:lnTo>
                  <a:lnTo>
                    <a:pt x="587416" y="197334"/>
                  </a:lnTo>
                  <a:lnTo>
                    <a:pt x="571494" y="151084"/>
                  </a:lnTo>
                  <a:lnTo>
                    <a:pt x="549896" y="111000"/>
                  </a:lnTo>
                  <a:lnTo>
                    <a:pt x="522621" y="77083"/>
                  </a:lnTo>
                  <a:lnTo>
                    <a:pt x="489669" y="49333"/>
                  </a:lnTo>
                  <a:lnTo>
                    <a:pt x="451041" y="27750"/>
                  </a:lnTo>
                  <a:lnTo>
                    <a:pt x="406737" y="12333"/>
                  </a:lnTo>
                  <a:lnTo>
                    <a:pt x="356757" y="3083"/>
                  </a:lnTo>
                  <a:lnTo>
                    <a:pt x="301100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2" name="object 18">
              <a:extLst>
                <a:ext uri="{FF2B5EF4-FFF2-40B4-BE49-F238E27FC236}">
                  <a16:creationId xmlns:a16="http://schemas.microsoft.com/office/drawing/2014/main" xmlns="" id="{CDA37675-F51D-8033-6CFF-B9CD3E29ED2F}"/>
                </a:ext>
              </a:extLst>
            </p:cNvPr>
            <p:cNvSpPr/>
            <p:nvPr/>
          </p:nvSpPr>
          <p:spPr>
            <a:xfrm>
              <a:off x="13287519" y="2332583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2705" y="381758"/>
                  </a:lnTo>
                  <a:lnTo>
                    <a:pt x="10365" y="432669"/>
                  </a:lnTo>
                  <a:lnTo>
                    <a:pt x="22979" y="478222"/>
                  </a:lnTo>
                  <a:lnTo>
                    <a:pt x="40548" y="518416"/>
                  </a:lnTo>
                  <a:lnTo>
                    <a:pt x="63070" y="553251"/>
                  </a:lnTo>
                  <a:lnTo>
                    <a:pt x="90547" y="582727"/>
                  </a:lnTo>
                  <a:lnTo>
                    <a:pt x="122978" y="606844"/>
                  </a:lnTo>
                  <a:lnTo>
                    <a:pt x="160363" y="625601"/>
                  </a:lnTo>
                  <a:lnTo>
                    <a:pt x="202702" y="638999"/>
                  </a:lnTo>
                  <a:lnTo>
                    <a:pt x="249995" y="647038"/>
                  </a:lnTo>
                  <a:lnTo>
                    <a:pt x="302242" y="649718"/>
                  </a:lnTo>
                  <a:lnTo>
                    <a:pt x="354475" y="647038"/>
                  </a:lnTo>
                  <a:lnTo>
                    <a:pt x="401735" y="638999"/>
                  </a:lnTo>
                  <a:lnTo>
                    <a:pt x="444020" y="625601"/>
                  </a:lnTo>
                  <a:lnTo>
                    <a:pt x="481331" y="606844"/>
                  </a:lnTo>
                  <a:lnTo>
                    <a:pt x="513668" y="582727"/>
                  </a:lnTo>
                  <a:lnTo>
                    <a:pt x="541029" y="553251"/>
                  </a:lnTo>
                  <a:lnTo>
                    <a:pt x="560222" y="523387"/>
                  </a:lnTo>
                  <a:lnTo>
                    <a:pt x="302242" y="523387"/>
                  </a:lnTo>
                  <a:lnTo>
                    <a:pt x="255484" y="520055"/>
                  </a:lnTo>
                  <a:lnTo>
                    <a:pt x="216342" y="509936"/>
                  </a:lnTo>
                  <a:lnTo>
                    <a:pt x="160906" y="469336"/>
                  </a:lnTo>
                  <a:lnTo>
                    <a:pt x="136168" y="411323"/>
                  </a:lnTo>
                  <a:lnTo>
                    <a:pt x="129984" y="371884"/>
                  </a:lnTo>
                  <a:lnTo>
                    <a:pt x="127922" y="325487"/>
                  </a:lnTo>
                  <a:lnTo>
                    <a:pt x="129984" y="279090"/>
                  </a:lnTo>
                  <a:lnTo>
                    <a:pt x="136168" y="239651"/>
                  </a:lnTo>
                  <a:lnTo>
                    <a:pt x="160906" y="181638"/>
                  </a:lnTo>
                  <a:lnTo>
                    <a:pt x="216342" y="140065"/>
                  </a:lnTo>
                  <a:lnTo>
                    <a:pt x="255484" y="129670"/>
                  </a:lnTo>
                  <a:lnTo>
                    <a:pt x="302242" y="126205"/>
                  </a:lnTo>
                  <a:lnTo>
                    <a:pt x="560419" y="126205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  <a:path w="603250" h="650239">
                  <a:moveTo>
                    <a:pt x="560419" y="126205"/>
                  </a:moveTo>
                  <a:lnTo>
                    <a:pt x="302242" y="126205"/>
                  </a:lnTo>
                  <a:lnTo>
                    <a:pt x="348993" y="129670"/>
                  </a:lnTo>
                  <a:lnTo>
                    <a:pt x="388132" y="140065"/>
                  </a:lnTo>
                  <a:lnTo>
                    <a:pt x="443567" y="181638"/>
                  </a:lnTo>
                  <a:lnTo>
                    <a:pt x="468305" y="239706"/>
                  </a:lnTo>
                  <a:lnTo>
                    <a:pt x="474489" y="279132"/>
                  </a:lnTo>
                  <a:lnTo>
                    <a:pt x="476550" y="325487"/>
                  </a:lnTo>
                  <a:lnTo>
                    <a:pt x="474489" y="371626"/>
                  </a:lnTo>
                  <a:lnTo>
                    <a:pt x="468305" y="410982"/>
                  </a:lnTo>
                  <a:lnTo>
                    <a:pt x="443567" y="469336"/>
                  </a:lnTo>
                  <a:lnTo>
                    <a:pt x="388132" y="509818"/>
                  </a:lnTo>
                  <a:lnTo>
                    <a:pt x="348993" y="519967"/>
                  </a:lnTo>
                  <a:lnTo>
                    <a:pt x="302242" y="523387"/>
                  </a:lnTo>
                  <a:lnTo>
                    <a:pt x="560222" y="523387"/>
                  </a:lnTo>
                  <a:lnTo>
                    <a:pt x="580829" y="478222"/>
                  </a:lnTo>
                  <a:lnTo>
                    <a:pt x="593267" y="432669"/>
                  </a:lnTo>
                  <a:lnTo>
                    <a:pt x="600729" y="38175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60419" y="126205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3" name="object 19">
              <a:extLst>
                <a:ext uri="{FF2B5EF4-FFF2-40B4-BE49-F238E27FC236}">
                  <a16:creationId xmlns:a16="http://schemas.microsoft.com/office/drawing/2014/main" xmlns="" id="{84828F82-1AB8-45F0-6CD5-F9580AC906BF}"/>
                </a:ext>
              </a:extLst>
            </p:cNvPr>
            <p:cNvSpPr/>
            <p:nvPr/>
          </p:nvSpPr>
          <p:spPr>
            <a:xfrm>
              <a:off x="13984650" y="2332580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325487"/>
                  </a:lnTo>
                  <a:lnTo>
                    <a:pt x="128727" y="279241"/>
                  </a:lnTo>
                  <a:lnTo>
                    <a:pt x="134912" y="239910"/>
                  </a:lnTo>
                  <a:lnTo>
                    <a:pt x="159649" y="181983"/>
                  </a:lnTo>
                  <a:lnTo>
                    <a:pt x="216028" y="140584"/>
                  </a:lnTo>
                  <a:lnTo>
                    <a:pt x="255405" y="130232"/>
                  </a:lnTo>
                  <a:lnTo>
                    <a:pt x="302242" y="126781"/>
                  </a:lnTo>
                  <a:lnTo>
                    <a:pt x="348980" y="130195"/>
                  </a:lnTo>
                  <a:lnTo>
                    <a:pt x="388075" y="140439"/>
                  </a:lnTo>
                  <a:lnTo>
                    <a:pt x="443337" y="181418"/>
                  </a:lnTo>
                  <a:lnTo>
                    <a:pt x="467989" y="239281"/>
                  </a:lnTo>
                  <a:lnTo>
                    <a:pt x="474151" y="278629"/>
                  </a:lnTo>
                  <a:lnTo>
                    <a:pt x="476205" y="324922"/>
                  </a:lnTo>
                  <a:lnTo>
                    <a:pt x="476205" y="649718"/>
                  </a:lnTo>
                  <a:lnTo>
                    <a:pt x="603217" y="64971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4" name="object 20">
              <a:extLst>
                <a:ext uri="{FF2B5EF4-FFF2-40B4-BE49-F238E27FC236}">
                  <a16:creationId xmlns:a16="http://schemas.microsoft.com/office/drawing/2014/main" xmlns="" id="{FFA87C55-79B8-04E5-C455-A88520B93DE1}"/>
                </a:ext>
              </a:extLst>
            </p:cNvPr>
            <p:cNvSpPr/>
            <p:nvPr/>
          </p:nvSpPr>
          <p:spPr>
            <a:xfrm>
              <a:off x="9591357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215" y="0"/>
                  </a:moveTo>
                  <a:lnTo>
                    <a:pt x="252243" y="2713"/>
                  </a:lnTo>
                  <a:lnTo>
                    <a:pt x="204316" y="10854"/>
                  </a:lnTo>
                  <a:lnTo>
                    <a:pt x="161434" y="24423"/>
                  </a:lnTo>
                  <a:lnTo>
                    <a:pt x="123598" y="43419"/>
                  </a:lnTo>
                  <a:lnTo>
                    <a:pt x="90806" y="67842"/>
                  </a:lnTo>
                  <a:lnTo>
                    <a:pt x="63059" y="97692"/>
                  </a:lnTo>
                  <a:lnTo>
                    <a:pt x="40358" y="132970"/>
                  </a:lnTo>
                  <a:lnTo>
                    <a:pt x="22701" y="173676"/>
                  </a:lnTo>
                  <a:lnTo>
                    <a:pt x="10089" y="219808"/>
                  </a:lnTo>
                  <a:lnTo>
                    <a:pt x="2522" y="271369"/>
                  </a:lnTo>
                  <a:lnTo>
                    <a:pt x="0" y="328356"/>
                  </a:lnTo>
                  <a:lnTo>
                    <a:pt x="0" y="655791"/>
                  </a:lnTo>
                  <a:lnTo>
                    <a:pt x="128037" y="655791"/>
                  </a:lnTo>
                  <a:lnTo>
                    <a:pt x="128037" y="327665"/>
                  </a:lnTo>
                  <a:lnTo>
                    <a:pt x="130114" y="281061"/>
                  </a:lnTo>
                  <a:lnTo>
                    <a:pt x="136344" y="241455"/>
                  </a:lnTo>
                  <a:lnTo>
                    <a:pt x="161251" y="183250"/>
                  </a:lnTo>
                  <a:lnTo>
                    <a:pt x="218159" y="141100"/>
                  </a:lnTo>
                  <a:lnTo>
                    <a:pt x="257935" y="130613"/>
                  </a:lnTo>
                  <a:lnTo>
                    <a:pt x="305215" y="127127"/>
                  </a:lnTo>
                  <a:lnTo>
                    <a:pt x="352429" y="130605"/>
                  </a:lnTo>
                  <a:lnTo>
                    <a:pt x="391999" y="141042"/>
                  </a:lnTo>
                  <a:lnTo>
                    <a:pt x="448038" y="182790"/>
                  </a:lnTo>
                  <a:lnTo>
                    <a:pt x="472941" y="241288"/>
                  </a:lnTo>
                  <a:lnTo>
                    <a:pt x="479166" y="280992"/>
                  </a:lnTo>
                  <a:lnTo>
                    <a:pt x="481241" y="327665"/>
                  </a:lnTo>
                  <a:lnTo>
                    <a:pt x="481241" y="655791"/>
                  </a:lnTo>
                  <a:lnTo>
                    <a:pt x="609059" y="655791"/>
                  </a:lnTo>
                  <a:lnTo>
                    <a:pt x="609059" y="328356"/>
                  </a:lnTo>
                  <a:lnTo>
                    <a:pt x="606774" y="271369"/>
                  </a:lnTo>
                  <a:lnTo>
                    <a:pt x="599422" y="219808"/>
                  </a:lnTo>
                  <a:lnTo>
                    <a:pt x="587003" y="173676"/>
                  </a:lnTo>
                  <a:lnTo>
                    <a:pt x="569516" y="132970"/>
                  </a:lnTo>
                  <a:lnTo>
                    <a:pt x="546962" y="97692"/>
                  </a:lnTo>
                  <a:lnTo>
                    <a:pt x="519340" y="67842"/>
                  </a:lnTo>
                  <a:lnTo>
                    <a:pt x="486651" y="43419"/>
                  </a:lnTo>
                  <a:lnTo>
                    <a:pt x="448894" y="24423"/>
                  </a:lnTo>
                  <a:lnTo>
                    <a:pt x="406069" y="10854"/>
                  </a:lnTo>
                  <a:lnTo>
                    <a:pt x="358176" y="2713"/>
                  </a:lnTo>
                  <a:lnTo>
                    <a:pt x="305215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5" name="object 21">
              <a:extLst>
                <a:ext uri="{FF2B5EF4-FFF2-40B4-BE49-F238E27FC236}">
                  <a16:creationId xmlns:a16="http://schemas.microsoft.com/office/drawing/2014/main" xmlns="" id="{575FF05D-69AB-0807-81EA-1CA915B336D1}"/>
                </a:ext>
              </a:extLst>
            </p:cNvPr>
            <p:cNvSpPr/>
            <p:nvPr/>
          </p:nvSpPr>
          <p:spPr>
            <a:xfrm>
              <a:off x="6943357" y="2332007"/>
              <a:ext cx="528320" cy="657225"/>
            </a:xfrm>
            <a:custGeom>
              <a:avLst/>
              <a:gdLst/>
              <a:ahLst/>
              <a:cxnLst/>
              <a:rect l="l" t="t" r="r" b="b"/>
              <a:pathLst>
                <a:path w="528320" h="657225">
                  <a:moveTo>
                    <a:pt x="517278" y="128498"/>
                  </a:moveTo>
                  <a:lnTo>
                    <a:pt x="263070" y="128498"/>
                  </a:lnTo>
                  <a:lnTo>
                    <a:pt x="304201" y="130045"/>
                  </a:lnTo>
                  <a:lnTo>
                    <a:pt x="337801" y="134685"/>
                  </a:lnTo>
                  <a:lnTo>
                    <a:pt x="382407" y="153241"/>
                  </a:lnTo>
                  <a:lnTo>
                    <a:pt x="400165" y="196077"/>
                  </a:lnTo>
                  <a:lnTo>
                    <a:pt x="399917" y="208245"/>
                  </a:lnTo>
                  <a:lnTo>
                    <a:pt x="364330" y="250187"/>
                  </a:lnTo>
                  <a:lnTo>
                    <a:pt x="304662" y="262560"/>
                  </a:lnTo>
                  <a:lnTo>
                    <a:pt x="263531" y="264107"/>
                  </a:lnTo>
                  <a:lnTo>
                    <a:pt x="206487" y="266888"/>
                  </a:lnTo>
                  <a:lnTo>
                    <a:pt x="156204" y="275334"/>
                  </a:lnTo>
                  <a:lnTo>
                    <a:pt x="112684" y="289443"/>
                  </a:lnTo>
                  <a:lnTo>
                    <a:pt x="75924" y="309215"/>
                  </a:lnTo>
                  <a:lnTo>
                    <a:pt x="45925" y="334649"/>
                  </a:lnTo>
                  <a:lnTo>
                    <a:pt x="10824" y="393209"/>
                  </a:lnTo>
                  <a:lnTo>
                    <a:pt x="215" y="459033"/>
                  </a:lnTo>
                  <a:lnTo>
                    <a:pt x="171" y="461546"/>
                  </a:lnTo>
                  <a:lnTo>
                    <a:pt x="2244" y="495015"/>
                  </a:lnTo>
                  <a:lnTo>
                    <a:pt x="25472" y="558891"/>
                  </a:lnTo>
                  <a:lnTo>
                    <a:pt x="75774" y="612009"/>
                  </a:lnTo>
                  <a:lnTo>
                    <a:pt x="112460" y="631764"/>
                  </a:lnTo>
                  <a:lnTo>
                    <a:pt x="155983" y="645874"/>
                  </a:lnTo>
                  <a:lnTo>
                    <a:pt x="206340" y="654341"/>
                  </a:lnTo>
                  <a:lnTo>
                    <a:pt x="263531" y="657163"/>
                  </a:lnTo>
                  <a:lnTo>
                    <a:pt x="325562" y="654087"/>
                  </a:lnTo>
                  <a:lnTo>
                    <a:pt x="379324" y="644859"/>
                  </a:lnTo>
                  <a:lnTo>
                    <a:pt x="424814" y="629478"/>
                  </a:lnTo>
                  <a:lnTo>
                    <a:pt x="462034" y="607946"/>
                  </a:lnTo>
                  <a:lnTo>
                    <a:pt x="490983" y="580261"/>
                  </a:lnTo>
                  <a:lnTo>
                    <a:pt x="511661" y="546423"/>
                  </a:lnTo>
                  <a:lnTo>
                    <a:pt x="516852" y="529690"/>
                  </a:lnTo>
                  <a:lnTo>
                    <a:pt x="263531" y="529690"/>
                  </a:lnTo>
                  <a:lnTo>
                    <a:pt x="222901" y="528123"/>
                  </a:lnTo>
                  <a:lnTo>
                    <a:pt x="163802" y="515585"/>
                  </a:lnTo>
                  <a:lnTo>
                    <a:pt x="131596" y="484819"/>
                  </a:lnTo>
                  <a:lnTo>
                    <a:pt x="128169" y="461546"/>
                  </a:lnTo>
                  <a:lnTo>
                    <a:pt x="128208" y="459033"/>
                  </a:lnTo>
                  <a:lnTo>
                    <a:pt x="145335" y="417222"/>
                  </a:lnTo>
                  <a:lnTo>
                    <a:pt x="189657" y="399359"/>
                  </a:lnTo>
                  <a:lnTo>
                    <a:pt x="263531" y="393401"/>
                  </a:lnTo>
                  <a:lnTo>
                    <a:pt x="298222" y="392762"/>
                  </a:lnTo>
                  <a:lnTo>
                    <a:pt x="332677" y="389228"/>
                  </a:lnTo>
                  <a:lnTo>
                    <a:pt x="366717" y="382829"/>
                  </a:lnTo>
                  <a:lnTo>
                    <a:pt x="400165" y="373590"/>
                  </a:lnTo>
                  <a:lnTo>
                    <a:pt x="528088" y="373590"/>
                  </a:lnTo>
                  <a:lnTo>
                    <a:pt x="528088" y="195617"/>
                  </a:lnTo>
                  <a:lnTo>
                    <a:pt x="523928" y="149768"/>
                  </a:lnTo>
                  <a:lnTo>
                    <a:pt x="517278" y="128498"/>
                  </a:lnTo>
                  <a:close/>
                </a:path>
                <a:path w="528320" h="657225">
                  <a:moveTo>
                    <a:pt x="528088" y="373590"/>
                  </a:moveTo>
                  <a:lnTo>
                    <a:pt x="400165" y="373590"/>
                  </a:lnTo>
                  <a:lnTo>
                    <a:pt x="400165" y="460980"/>
                  </a:lnTo>
                  <a:lnTo>
                    <a:pt x="399705" y="461546"/>
                  </a:lnTo>
                  <a:lnTo>
                    <a:pt x="382407" y="505303"/>
                  </a:lnTo>
                  <a:lnTo>
                    <a:pt x="337572" y="523595"/>
                  </a:lnTo>
                  <a:lnTo>
                    <a:pt x="263531" y="529690"/>
                  </a:lnTo>
                  <a:lnTo>
                    <a:pt x="516852" y="529690"/>
                  </a:lnTo>
                  <a:lnTo>
                    <a:pt x="524068" y="506432"/>
                  </a:lnTo>
                  <a:lnTo>
                    <a:pt x="528091" y="461546"/>
                  </a:lnTo>
                  <a:lnTo>
                    <a:pt x="528088" y="373590"/>
                  </a:lnTo>
                  <a:close/>
                </a:path>
                <a:path w="528320" h="657225">
                  <a:moveTo>
                    <a:pt x="263416" y="0"/>
                  </a:moveTo>
                  <a:lnTo>
                    <a:pt x="206371" y="2803"/>
                  </a:lnTo>
                  <a:lnTo>
                    <a:pt x="156089" y="11213"/>
                  </a:lnTo>
                  <a:lnTo>
                    <a:pt x="112568" y="25231"/>
                  </a:lnTo>
                  <a:lnTo>
                    <a:pt x="75809" y="44857"/>
                  </a:lnTo>
                  <a:lnTo>
                    <a:pt x="45810" y="70092"/>
                  </a:lnTo>
                  <a:lnTo>
                    <a:pt x="10571" y="128600"/>
                  </a:lnTo>
                  <a:lnTo>
                    <a:pt x="0" y="196077"/>
                  </a:lnTo>
                  <a:lnTo>
                    <a:pt x="128153" y="196077"/>
                  </a:lnTo>
                  <a:lnTo>
                    <a:pt x="128592" y="184074"/>
                  </a:lnTo>
                  <a:lnTo>
                    <a:pt x="131722" y="172641"/>
                  </a:lnTo>
                  <a:lnTo>
                    <a:pt x="163172" y="142417"/>
                  </a:lnTo>
                  <a:lnTo>
                    <a:pt x="222039" y="130045"/>
                  </a:lnTo>
                  <a:lnTo>
                    <a:pt x="263070" y="128498"/>
                  </a:lnTo>
                  <a:lnTo>
                    <a:pt x="517278" y="128498"/>
                  </a:lnTo>
                  <a:lnTo>
                    <a:pt x="511504" y="110033"/>
                  </a:lnTo>
                  <a:lnTo>
                    <a:pt x="490816" y="76411"/>
                  </a:lnTo>
                  <a:lnTo>
                    <a:pt x="461864" y="48902"/>
                  </a:lnTo>
                  <a:lnTo>
                    <a:pt x="424647" y="27507"/>
                  </a:lnTo>
                  <a:lnTo>
                    <a:pt x="379167" y="12225"/>
                  </a:lnTo>
                  <a:lnTo>
                    <a:pt x="325423" y="3056"/>
                  </a:lnTo>
                  <a:lnTo>
                    <a:pt x="26341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6" name="object 22">
              <a:extLst>
                <a:ext uri="{FF2B5EF4-FFF2-40B4-BE49-F238E27FC236}">
                  <a16:creationId xmlns:a16="http://schemas.microsoft.com/office/drawing/2014/main" xmlns="" id="{D7016388-49A9-A8AB-88CD-ED0FA11AA5EE}"/>
                </a:ext>
              </a:extLst>
            </p:cNvPr>
            <p:cNvSpPr/>
            <p:nvPr/>
          </p:nvSpPr>
          <p:spPr>
            <a:xfrm>
              <a:off x="7570053" y="2074088"/>
              <a:ext cx="609600" cy="915669"/>
            </a:xfrm>
            <a:custGeom>
              <a:avLst/>
              <a:gdLst/>
              <a:ahLst/>
              <a:cxnLst/>
              <a:rect l="l" t="t" r="r" b="b"/>
              <a:pathLst>
                <a:path w="609600" h="915669">
                  <a:moveTo>
                    <a:pt x="128048" y="0"/>
                  </a:moveTo>
                  <a:lnTo>
                    <a:pt x="0" y="0"/>
                  </a:lnTo>
                  <a:lnTo>
                    <a:pt x="46" y="588107"/>
                  </a:lnTo>
                  <a:lnTo>
                    <a:pt x="2323" y="643905"/>
                  </a:lnTo>
                  <a:lnTo>
                    <a:pt x="9710" y="695429"/>
                  </a:lnTo>
                  <a:lnTo>
                    <a:pt x="22162" y="741530"/>
                  </a:lnTo>
                  <a:lnTo>
                    <a:pt x="39677" y="782207"/>
                  </a:lnTo>
                  <a:lnTo>
                    <a:pt x="62256" y="817460"/>
                  </a:lnTo>
                  <a:lnTo>
                    <a:pt x="89899" y="847289"/>
                  </a:lnTo>
                  <a:lnTo>
                    <a:pt x="122606" y="871695"/>
                  </a:lnTo>
                  <a:lnTo>
                    <a:pt x="160377" y="890677"/>
                  </a:lnTo>
                  <a:lnTo>
                    <a:pt x="203212" y="904235"/>
                  </a:lnTo>
                  <a:lnTo>
                    <a:pt x="251218" y="912375"/>
                  </a:lnTo>
                  <a:lnTo>
                    <a:pt x="304074" y="915082"/>
                  </a:lnTo>
                  <a:lnTo>
                    <a:pt x="357078" y="912370"/>
                  </a:lnTo>
                  <a:lnTo>
                    <a:pt x="405043" y="904235"/>
                  </a:lnTo>
                  <a:lnTo>
                    <a:pt x="447855" y="890726"/>
                  </a:lnTo>
                  <a:lnTo>
                    <a:pt x="485692" y="871784"/>
                  </a:lnTo>
                  <a:lnTo>
                    <a:pt x="518483" y="847429"/>
                  </a:lnTo>
                  <a:lnTo>
                    <a:pt x="546230" y="817661"/>
                  </a:lnTo>
                  <a:lnTo>
                    <a:pt x="565623" y="787609"/>
                  </a:lnTo>
                  <a:lnTo>
                    <a:pt x="304074" y="787609"/>
                  </a:lnTo>
                  <a:lnTo>
                    <a:pt x="256794" y="784109"/>
                  </a:lnTo>
                  <a:lnTo>
                    <a:pt x="217232" y="773608"/>
                  </a:lnTo>
                  <a:lnTo>
                    <a:pt x="161262" y="731611"/>
                  </a:lnTo>
                  <a:lnTo>
                    <a:pt x="136350" y="673285"/>
                  </a:lnTo>
                  <a:lnTo>
                    <a:pt x="130123" y="633880"/>
                  </a:lnTo>
                  <a:lnTo>
                    <a:pt x="128069" y="588107"/>
                  </a:lnTo>
                  <a:lnTo>
                    <a:pt x="128048" y="386417"/>
                  </a:lnTo>
                  <a:lnTo>
                    <a:pt x="565107" y="386417"/>
                  </a:lnTo>
                  <a:lnTo>
                    <a:pt x="546284" y="357121"/>
                  </a:lnTo>
                  <a:lnTo>
                    <a:pt x="518538" y="327229"/>
                  </a:lnTo>
                  <a:lnTo>
                    <a:pt x="485742" y="302771"/>
                  </a:lnTo>
                  <a:lnTo>
                    <a:pt x="447898" y="283748"/>
                  </a:lnTo>
                  <a:lnTo>
                    <a:pt x="405006" y="270160"/>
                  </a:lnTo>
                  <a:lnTo>
                    <a:pt x="357064" y="262008"/>
                  </a:lnTo>
                  <a:lnTo>
                    <a:pt x="304074" y="259290"/>
                  </a:lnTo>
                  <a:lnTo>
                    <a:pt x="128048" y="259290"/>
                  </a:lnTo>
                  <a:lnTo>
                    <a:pt x="128048" y="0"/>
                  </a:lnTo>
                  <a:close/>
                </a:path>
                <a:path w="609600" h="915669">
                  <a:moveTo>
                    <a:pt x="565107" y="386417"/>
                  </a:moveTo>
                  <a:lnTo>
                    <a:pt x="304074" y="386417"/>
                  </a:lnTo>
                  <a:lnTo>
                    <a:pt x="351338" y="389869"/>
                  </a:lnTo>
                  <a:lnTo>
                    <a:pt x="391087" y="400334"/>
                  </a:lnTo>
                  <a:lnTo>
                    <a:pt x="448038" y="442311"/>
                  </a:lnTo>
                  <a:lnTo>
                    <a:pt x="472946" y="500980"/>
                  </a:lnTo>
                  <a:lnTo>
                    <a:pt x="479175" y="540814"/>
                  </a:lnTo>
                  <a:lnTo>
                    <a:pt x="481221" y="586955"/>
                  </a:lnTo>
                  <a:lnTo>
                    <a:pt x="481232" y="588107"/>
                  </a:lnTo>
                  <a:lnTo>
                    <a:pt x="479218" y="633880"/>
                  </a:lnTo>
                  <a:lnTo>
                    <a:pt x="473005" y="673285"/>
                  </a:lnTo>
                  <a:lnTo>
                    <a:pt x="448038" y="731611"/>
                  </a:lnTo>
                  <a:lnTo>
                    <a:pt x="391201" y="773608"/>
                  </a:lnTo>
                  <a:lnTo>
                    <a:pt x="351425" y="784109"/>
                  </a:lnTo>
                  <a:lnTo>
                    <a:pt x="304074" y="787609"/>
                  </a:lnTo>
                  <a:lnTo>
                    <a:pt x="565623" y="787609"/>
                  </a:lnTo>
                  <a:lnTo>
                    <a:pt x="586588" y="741891"/>
                  </a:lnTo>
                  <a:lnTo>
                    <a:pt x="599200" y="695888"/>
                  </a:lnTo>
                  <a:lnTo>
                    <a:pt x="606767" y="644473"/>
                  </a:lnTo>
                  <a:lnTo>
                    <a:pt x="609269" y="588107"/>
                  </a:lnTo>
                  <a:lnTo>
                    <a:pt x="609239" y="586955"/>
                  </a:lnTo>
                  <a:lnTo>
                    <a:pt x="606786" y="531041"/>
                  </a:lnTo>
                  <a:lnTo>
                    <a:pt x="599233" y="479409"/>
                  </a:lnTo>
                  <a:lnTo>
                    <a:pt x="586632" y="433211"/>
                  </a:lnTo>
                  <a:lnTo>
                    <a:pt x="568982" y="392449"/>
                  </a:lnTo>
                  <a:lnTo>
                    <a:pt x="565107" y="386417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7" name="object 23">
              <a:extLst>
                <a:ext uri="{FF2B5EF4-FFF2-40B4-BE49-F238E27FC236}">
                  <a16:creationId xmlns:a16="http://schemas.microsoft.com/office/drawing/2014/main" xmlns="" id="{FF6028BC-FBEF-91A8-7EB4-4FFBB667194E}"/>
                </a:ext>
              </a:extLst>
            </p:cNvPr>
            <p:cNvSpPr/>
            <p:nvPr/>
          </p:nvSpPr>
          <p:spPr>
            <a:xfrm>
              <a:off x="8244171" y="2333379"/>
              <a:ext cx="593725" cy="655955"/>
            </a:xfrm>
            <a:custGeom>
              <a:avLst/>
              <a:gdLst/>
              <a:ahLst/>
              <a:cxnLst/>
              <a:rect l="l" t="t" r="r" b="b"/>
              <a:pathLst>
                <a:path w="593725" h="655955">
                  <a:moveTo>
                    <a:pt x="304524" y="0"/>
                  </a:moveTo>
                  <a:lnTo>
                    <a:pt x="251672" y="2438"/>
                  </a:lnTo>
                  <a:lnTo>
                    <a:pt x="203854" y="10336"/>
                  </a:lnTo>
                  <a:lnTo>
                    <a:pt x="161069" y="23694"/>
                  </a:lnTo>
                  <a:lnTo>
                    <a:pt x="123318" y="42511"/>
                  </a:lnTo>
                  <a:lnTo>
                    <a:pt x="90600" y="66788"/>
                  </a:lnTo>
                  <a:lnTo>
                    <a:pt x="62917" y="96524"/>
                  </a:lnTo>
                  <a:lnTo>
                    <a:pt x="40266" y="131720"/>
                  </a:lnTo>
                  <a:lnTo>
                    <a:pt x="22650" y="172376"/>
                  </a:lnTo>
                  <a:lnTo>
                    <a:pt x="10066" y="218491"/>
                  </a:lnTo>
                  <a:lnTo>
                    <a:pt x="2516" y="270065"/>
                  </a:lnTo>
                  <a:lnTo>
                    <a:pt x="0" y="327099"/>
                  </a:lnTo>
                  <a:lnTo>
                    <a:pt x="2512" y="384144"/>
                  </a:lnTo>
                  <a:lnTo>
                    <a:pt x="10051" y="435757"/>
                  </a:lnTo>
                  <a:lnTo>
                    <a:pt x="22615" y="481936"/>
                  </a:lnTo>
                  <a:lnTo>
                    <a:pt x="40205" y="522683"/>
                  </a:lnTo>
                  <a:lnTo>
                    <a:pt x="62820" y="557997"/>
                  </a:lnTo>
                  <a:lnTo>
                    <a:pt x="90462" y="587878"/>
                  </a:lnTo>
                  <a:lnTo>
                    <a:pt x="123130" y="612327"/>
                  </a:lnTo>
                  <a:lnTo>
                    <a:pt x="160824" y="631342"/>
                  </a:lnTo>
                  <a:lnTo>
                    <a:pt x="203544" y="644925"/>
                  </a:lnTo>
                  <a:lnTo>
                    <a:pt x="251291" y="653075"/>
                  </a:lnTo>
                  <a:lnTo>
                    <a:pt x="304064" y="655791"/>
                  </a:lnTo>
                  <a:lnTo>
                    <a:pt x="360244" y="652634"/>
                  </a:lnTo>
                  <a:lnTo>
                    <a:pt x="410705" y="643216"/>
                  </a:lnTo>
                  <a:lnTo>
                    <a:pt x="455447" y="627539"/>
                  </a:lnTo>
                  <a:lnTo>
                    <a:pt x="494470" y="605601"/>
                  </a:lnTo>
                  <a:lnTo>
                    <a:pt x="527773" y="577404"/>
                  </a:lnTo>
                  <a:lnTo>
                    <a:pt x="555356" y="542947"/>
                  </a:lnTo>
                  <a:lnTo>
                    <a:pt x="577220" y="502230"/>
                  </a:lnTo>
                  <a:lnTo>
                    <a:pt x="593364" y="455253"/>
                  </a:lnTo>
                  <a:lnTo>
                    <a:pt x="458331" y="455253"/>
                  </a:lnTo>
                  <a:lnTo>
                    <a:pt x="434418" y="487219"/>
                  </a:lnTo>
                  <a:lnTo>
                    <a:pt x="400813" y="510052"/>
                  </a:lnTo>
                  <a:lnTo>
                    <a:pt x="357516" y="523752"/>
                  </a:lnTo>
                  <a:lnTo>
                    <a:pt x="304524" y="528318"/>
                  </a:lnTo>
                  <a:lnTo>
                    <a:pt x="257244" y="524818"/>
                  </a:lnTo>
                  <a:lnTo>
                    <a:pt x="217683" y="514318"/>
                  </a:lnTo>
                  <a:lnTo>
                    <a:pt x="161712" y="472320"/>
                  </a:lnTo>
                  <a:lnTo>
                    <a:pt x="136855" y="413736"/>
                  </a:lnTo>
                  <a:lnTo>
                    <a:pt x="130615" y="373924"/>
                  </a:lnTo>
                  <a:lnTo>
                    <a:pt x="128498" y="327099"/>
                  </a:lnTo>
                  <a:lnTo>
                    <a:pt x="130528" y="280261"/>
                  </a:lnTo>
                  <a:lnTo>
                    <a:pt x="136741" y="240425"/>
                  </a:lnTo>
                  <a:lnTo>
                    <a:pt x="161712" y="181764"/>
                  </a:lnTo>
                  <a:lnTo>
                    <a:pt x="217742" y="140784"/>
                  </a:lnTo>
                  <a:lnTo>
                    <a:pt x="257290" y="130541"/>
                  </a:lnTo>
                  <a:lnTo>
                    <a:pt x="304524" y="127127"/>
                  </a:lnTo>
                  <a:lnTo>
                    <a:pt x="358030" y="131615"/>
                  </a:lnTo>
                  <a:lnTo>
                    <a:pt x="401500" y="145079"/>
                  </a:lnTo>
                  <a:lnTo>
                    <a:pt x="434935" y="167519"/>
                  </a:lnTo>
                  <a:lnTo>
                    <a:pt x="458331" y="198936"/>
                  </a:lnTo>
                  <a:lnTo>
                    <a:pt x="593364" y="198936"/>
                  </a:lnTo>
                  <a:lnTo>
                    <a:pt x="577327" y="152310"/>
                  </a:lnTo>
                  <a:lnTo>
                    <a:pt x="555557" y="111901"/>
                  </a:lnTo>
                  <a:lnTo>
                    <a:pt x="528052" y="77709"/>
                  </a:lnTo>
                  <a:lnTo>
                    <a:pt x="494814" y="49734"/>
                  </a:lnTo>
                  <a:lnTo>
                    <a:pt x="455842" y="27975"/>
                  </a:lnTo>
                  <a:lnTo>
                    <a:pt x="411137" y="12433"/>
                  </a:lnTo>
                  <a:lnTo>
                    <a:pt x="360697" y="3108"/>
                  </a:lnTo>
                  <a:lnTo>
                    <a:pt x="304524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sp>
          <p:nvSpPr>
            <p:cNvPr id="48" name="object 24">
              <a:extLst>
                <a:ext uri="{FF2B5EF4-FFF2-40B4-BE49-F238E27FC236}">
                  <a16:creationId xmlns:a16="http://schemas.microsoft.com/office/drawing/2014/main" xmlns="" id="{0436441E-A5A3-7AFA-284B-DDB36C05D4A4}"/>
                </a:ext>
              </a:extLst>
            </p:cNvPr>
            <p:cNvSpPr/>
            <p:nvPr/>
          </p:nvSpPr>
          <p:spPr>
            <a:xfrm>
              <a:off x="8887124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446" y="0"/>
                  </a:moveTo>
                  <a:lnTo>
                    <a:pt x="252412" y="2717"/>
                  </a:lnTo>
                  <a:lnTo>
                    <a:pt x="204424" y="10870"/>
                  </a:lnTo>
                  <a:lnTo>
                    <a:pt x="161490" y="24458"/>
                  </a:lnTo>
                  <a:lnTo>
                    <a:pt x="123694" y="43419"/>
                  </a:lnTo>
                  <a:lnTo>
                    <a:pt x="90877" y="67842"/>
                  </a:lnTo>
                  <a:lnTo>
                    <a:pt x="63109" y="97692"/>
                  </a:lnTo>
                  <a:lnTo>
                    <a:pt x="40390" y="132970"/>
                  </a:lnTo>
                  <a:lnTo>
                    <a:pt x="22719" y="173676"/>
                  </a:lnTo>
                  <a:lnTo>
                    <a:pt x="10097" y="219808"/>
                  </a:lnTo>
                  <a:lnTo>
                    <a:pt x="2524" y="271369"/>
                  </a:lnTo>
                  <a:lnTo>
                    <a:pt x="0" y="328356"/>
                  </a:lnTo>
                  <a:lnTo>
                    <a:pt x="2731" y="385183"/>
                  </a:lnTo>
                  <a:lnTo>
                    <a:pt x="10468" y="436598"/>
                  </a:lnTo>
                  <a:lnTo>
                    <a:pt x="23210" y="482601"/>
                  </a:lnTo>
                  <a:lnTo>
                    <a:pt x="40958" y="523192"/>
                  </a:lnTo>
                  <a:lnTo>
                    <a:pt x="63711" y="558371"/>
                  </a:lnTo>
                  <a:lnTo>
                    <a:pt x="91469" y="588138"/>
                  </a:lnTo>
                  <a:lnTo>
                    <a:pt x="124232" y="612493"/>
                  </a:lnTo>
                  <a:lnTo>
                    <a:pt x="162000" y="631436"/>
                  </a:lnTo>
                  <a:lnTo>
                    <a:pt x="204772" y="644966"/>
                  </a:lnTo>
                  <a:lnTo>
                    <a:pt x="252549" y="653085"/>
                  </a:lnTo>
                  <a:lnTo>
                    <a:pt x="305331" y="655791"/>
                  </a:lnTo>
                  <a:lnTo>
                    <a:pt x="358104" y="653085"/>
                  </a:lnTo>
                  <a:lnTo>
                    <a:pt x="405851" y="644966"/>
                  </a:lnTo>
                  <a:lnTo>
                    <a:pt x="448572" y="631436"/>
                  </a:lnTo>
                  <a:lnTo>
                    <a:pt x="486267" y="612493"/>
                  </a:lnTo>
                  <a:lnTo>
                    <a:pt x="518937" y="588138"/>
                  </a:lnTo>
                  <a:lnTo>
                    <a:pt x="546580" y="558371"/>
                  </a:lnTo>
                  <a:lnTo>
                    <a:pt x="565753" y="528549"/>
                  </a:lnTo>
                  <a:lnTo>
                    <a:pt x="305331" y="528549"/>
                  </a:lnTo>
                  <a:lnTo>
                    <a:pt x="258139" y="525086"/>
                  </a:lnTo>
                  <a:lnTo>
                    <a:pt x="218607" y="514807"/>
                  </a:lnTo>
                  <a:lnTo>
                    <a:pt x="162518" y="473807"/>
                  </a:lnTo>
                  <a:lnTo>
                    <a:pt x="137543" y="415167"/>
                  </a:lnTo>
                  <a:lnTo>
                    <a:pt x="131337" y="375370"/>
                  </a:lnTo>
                  <a:lnTo>
                    <a:pt x="129314" y="328817"/>
                  </a:lnTo>
                  <a:lnTo>
                    <a:pt x="129315" y="328356"/>
                  </a:lnTo>
                  <a:lnTo>
                    <a:pt x="131423" y="281750"/>
                  </a:lnTo>
                  <a:lnTo>
                    <a:pt x="137665" y="241916"/>
                  </a:lnTo>
                  <a:lnTo>
                    <a:pt x="162518" y="183250"/>
                  </a:lnTo>
                  <a:lnTo>
                    <a:pt x="218692" y="141218"/>
                  </a:lnTo>
                  <a:lnTo>
                    <a:pt x="258246" y="130680"/>
                  </a:lnTo>
                  <a:lnTo>
                    <a:pt x="305446" y="127127"/>
                  </a:lnTo>
                  <a:lnTo>
                    <a:pt x="566093" y="127127"/>
                  </a:lnTo>
                  <a:lnTo>
                    <a:pt x="547376" y="97831"/>
                  </a:lnTo>
                  <a:lnTo>
                    <a:pt x="519734" y="67938"/>
                  </a:lnTo>
                  <a:lnTo>
                    <a:pt x="487020" y="43480"/>
                  </a:lnTo>
                  <a:lnTo>
                    <a:pt x="449234" y="24458"/>
                  </a:lnTo>
                  <a:lnTo>
                    <a:pt x="406377" y="10870"/>
                  </a:lnTo>
                  <a:lnTo>
                    <a:pt x="358371" y="2713"/>
                  </a:lnTo>
                  <a:lnTo>
                    <a:pt x="305446" y="0"/>
                  </a:lnTo>
                  <a:close/>
                </a:path>
                <a:path w="609600" h="655955">
                  <a:moveTo>
                    <a:pt x="566093" y="127127"/>
                  </a:moveTo>
                  <a:lnTo>
                    <a:pt x="305446" y="127127"/>
                  </a:lnTo>
                  <a:lnTo>
                    <a:pt x="352631" y="130578"/>
                  </a:lnTo>
                  <a:lnTo>
                    <a:pt x="392145" y="141044"/>
                  </a:lnTo>
                  <a:lnTo>
                    <a:pt x="448153" y="183020"/>
                  </a:lnTo>
                  <a:lnTo>
                    <a:pt x="473061" y="241690"/>
                  </a:lnTo>
                  <a:lnTo>
                    <a:pt x="479290" y="281524"/>
                  </a:lnTo>
                  <a:lnTo>
                    <a:pt x="481367" y="328356"/>
                  </a:lnTo>
                  <a:lnTo>
                    <a:pt x="479284" y="375411"/>
                  </a:lnTo>
                  <a:lnTo>
                    <a:pt x="473044" y="415222"/>
                  </a:lnTo>
                  <a:lnTo>
                    <a:pt x="448153" y="473807"/>
                  </a:lnTo>
                  <a:lnTo>
                    <a:pt x="392060" y="514921"/>
                  </a:lnTo>
                  <a:lnTo>
                    <a:pt x="352524" y="525170"/>
                  </a:lnTo>
                  <a:lnTo>
                    <a:pt x="305331" y="528549"/>
                  </a:lnTo>
                  <a:lnTo>
                    <a:pt x="565753" y="528549"/>
                  </a:lnTo>
                  <a:lnTo>
                    <a:pt x="586788" y="482601"/>
                  </a:lnTo>
                  <a:lnTo>
                    <a:pt x="599353" y="436598"/>
                  </a:lnTo>
                  <a:lnTo>
                    <a:pt x="606892" y="385183"/>
                  </a:lnTo>
                  <a:lnTo>
                    <a:pt x="609385" y="328817"/>
                  </a:lnTo>
                  <a:lnTo>
                    <a:pt x="609502" y="328356"/>
                  </a:lnTo>
                  <a:lnTo>
                    <a:pt x="607233" y="271750"/>
                  </a:lnTo>
                  <a:lnTo>
                    <a:pt x="599876" y="220118"/>
                  </a:lnTo>
                  <a:lnTo>
                    <a:pt x="587447" y="173921"/>
                  </a:lnTo>
                  <a:lnTo>
                    <a:pt x="569947" y="133158"/>
                  </a:lnTo>
                  <a:lnTo>
                    <a:pt x="566093" y="127127"/>
                  </a:lnTo>
                  <a:close/>
                </a:path>
                <a:path w="609600" h="655955">
                  <a:moveTo>
                    <a:pt x="609502" y="328356"/>
                  </a:moveTo>
                  <a:lnTo>
                    <a:pt x="609520" y="328817"/>
                  </a:lnTo>
                  <a:lnTo>
                    <a:pt x="609502" y="328356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1801"/>
            </a:p>
          </p:txBody>
        </p:sp>
        <p:grpSp>
          <p:nvGrpSpPr>
            <p:cNvPr id="49" name="object 25">
              <a:extLst>
                <a:ext uri="{FF2B5EF4-FFF2-40B4-BE49-F238E27FC236}">
                  <a16:creationId xmlns:a16="http://schemas.microsoft.com/office/drawing/2014/main" xmlns="" id="{90AA7A4F-C286-5651-687E-8D670028ECC6}"/>
                </a:ext>
              </a:extLst>
            </p:cNvPr>
            <p:cNvGrpSpPr/>
            <p:nvPr/>
          </p:nvGrpSpPr>
          <p:grpSpPr>
            <a:xfrm>
              <a:off x="5516224" y="1909393"/>
              <a:ext cx="1198880" cy="1238250"/>
              <a:chOff x="5516224" y="1909393"/>
              <a:chExt cx="1198880" cy="1238250"/>
            </a:xfrm>
          </p:grpSpPr>
          <p:sp>
            <p:nvSpPr>
              <p:cNvPr id="50" name="object 26">
                <a:extLst>
                  <a:ext uri="{FF2B5EF4-FFF2-40B4-BE49-F238E27FC236}">
                    <a16:creationId xmlns:a16="http://schemas.microsoft.com/office/drawing/2014/main" xmlns="" id="{56D05705-BD07-BE66-BE21-C4B5FBD75AFF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  <p:sp>
            <p:nvSpPr>
              <p:cNvPr id="51" name="object 27">
                <a:extLst>
                  <a:ext uri="{FF2B5EF4-FFF2-40B4-BE49-F238E27FC236}">
                    <a16:creationId xmlns:a16="http://schemas.microsoft.com/office/drawing/2014/main" xmlns="" id="{13C4BDA5-1517-90A6-50BE-EF26E5BA877D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  <p:sp>
            <p:nvSpPr>
              <p:cNvPr id="52" name="object 28">
                <a:extLst>
                  <a:ext uri="{FF2B5EF4-FFF2-40B4-BE49-F238E27FC236}">
                    <a16:creationId xmlns:a16="http://schemas.microsoft.com/office/drawing/2014/main" xmlns="" id="{4C3E3E5D-061A-640B-CA28-C3ADED3F2E08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  <p:sp>
            <p:nvSpPr>
              <p:cNvPr id="53" name="object 29">
                <a:extLst>
                  <a:ext uri="{FF2B5EF4-FFF2-40B4-BE49-F238E27FC236}">
                    <a16:creationId xmlns:a16="http://schemas.microsoft.com/office/drawing/2014/main" xmlns="" id="{96A89396-0B0F-9D1E-40CF-22CCB27407C5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1801"/>
              </a:p>
            </p:txBody>
          </p:sp>
        </p:grpSp>
      </p:grpSp>
      <p:pic>
        <p:nvPicPr>
          <p:cNvPr id="10" name="object 4">
            <a:extLst>
              <a:ext uri="{FF2B5EF4-FFF2-40B4-BE49-F238E27FC236}">
                <a16:creationId xmlns:a16="http://schemas.microsoft.com/office/drawing/2014/main" xmlns="" id="{72D48FCA-812E-A75E-944F-2642D70FBA35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188760" y="10638419"/>
            <a:ext cx="14508356" cy="670136"/>
          </a:xfrm>
          <a:prstGeom prst="rect">
            <a:avLst/>
          </a:prstGeom>
        </p:spPr>
      </p:pic>
      <p:pic>
        <p:nvPicPr>
          <p:cNvPr id="13" name="object 6">
            <a:extLst>
              <a:ext uri="{FF2B5EF4-FFF2-40B4-BE49-F238E27FC236}">
                <a16:creationId xmlns:a16="http://schemas.microsoft.com/office/drawing/2014/main" xmlns="" id="{628DD2A8-96CC-D022-510D-2931503F9651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7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3A88FE59-9D6F-9C91-EFDB-58108EA4111F}"/>
              </a:ext>
            </a:extLst>
          </p:cNvPr>
          <p:cNvSpPr txBox="1"/>
          <p:nvPr/>
        </p:nvSpPr>
        <p:spPr>
          <a:xfrm>
            <a:off x="4743450" y="971796"/>
            <a:ext cx="10534459" cy="128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Reforma tributária e saneamento</a:t>
            </a:r>
          </a:p>
          <a:p>
            <a:pPr algn="ctr"/>
            <a:r>
              <a:rPr lang="pt-BR" sz="3653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como viabilizar a universalização?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B06CAD8E-8F8D-D00C-2F65-CCD6B9F4A708}"/>
              </a:ext>
            </a:extLst>
          </p:cNvPr>
          <p:cNvSpPr txBox="1"/>
          <p:nvPr/>
        </p:nvSpPr>
        <p:spPr>
          <a:xfrm>
            <a:off x="1107681" y="5805922"/>
            <a:ext cx="2729601" cy="843112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s brasileiros NÃO têm acesso à abastecimento de água</a:t>
            </a:r>
          </a:p>
        </p:txBody>
      </p:sp>
      <p:sp>
        <p:nvSpPr>
          <p:cNvPr id="3129" name="CaixaDeTexto 3128">
            <a:extLst>
              <a:ext uri="{FF2B5EF4-FFF2-40B4-BE49-F238E27FC236}">
                <a16:creationId xmlns:a16="http://schemas.microsoft.com/office/drawing/2014/main" xmlns="" id="{C5D4C4CA-B2BD-8935-800D-C0C65D6D6ADC}"/>
              </a:ext>
            </a:extLst>
          </p:cNvPr>
          <p:cNvSpPr txBox="1"/>
          <p:nvPr/>
        </p:nvSpPr>
        <p:spPr>
          <a:xfrm>
            <a:off x="16802100" y="10380023"/>
            <a:ext cx="2966082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37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Fonte: Levantamento ABCON SINDCON com base em KPMG, SNIS e PNAD.</a:t>
            </a:r>
            <a:endParaRPr lang="pt-BR" sz="137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xmlns="" id="{D6207C64-4152-6B6B-2DAC-4689499BFB79}"/>
              </a:ext>
            </a:extLst>
          </p:cNvPr>
          <p:cNvGrpSpPr>
            <a:grpSpLocks noChangeAspect="1"/>
          </p:cNvGrpSpPr>
          <p:nvPr/>
        </p:nvGrpSpPr>
        <p:grpSpPr>
          <a:xfrm>
            <a:off x="882021" y="2510611"/>
            <a:ext cx="2738565" cy="2268000"/>
            <a:chOff x="1253238" y="2510612"/>
            <a:chExt cx="4222845" cy="3497237"/>
          </a:xfrm>
        </p:grpSpPr>
        <p:sp>
          <p:nvSpPr>
            <p:cNvPr id="16" name="Retângulo Arredondado 15">
              <a:extLst>
                <a:ext uri="{FF2B5EF4-FFF2-40B4-BE49-F238E27FC236}">
                  <a16:creationId xmlns:a16="http://schemas.microsoft.com/office/drawing/2014/main" xmlns="" id="{9BAAA5FE-FBBC-10DB-3BBC-116BF50885B2}"/>
                </a:ext>
              </a:extLst>
            </p:cNvPr>
            <p:cNvSpPr/>
            <p:nvPr/>
          </p:nvSpPr>
          <p:spPr>
            <a:xfrm>
              <a:off x="1518744" y="2510612"/>
              <a:ext cx="3691835" cy="3497237"/>
            </a:xfrm>
            <a:prstGeom prst="roundRect">
              <a:avLst>
                <a:gd name="adj" fmla="val 6475"/>
              </a:avLst>
            </a:prstGeom>
            <a:gradFill flip="none" rotWithShape="1">
              <a:gsLst>
                <a:gs pos="0">
                  <a:srgbClr val="288BB3"/>
                </a:gs>
                <a:gs pos="100000">
                  <a:srgbClr val="9CC42E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55"/>
            </a:p>
          </p:txBody>
        </p:sp>
        <p:pic>
          <p:nvPicPr>
            <p:cNvPr id="53" name="Gráfico 52" descr="Lavagem das mãos com preenchimento sólido">
              <a:extLst>
                <a:ext uri="{FF2B5EF4-FFF2-40B4-BE49-F238E27FC236}">
                  <a16:creationId xmlns:a16="http://schemas.microsoft.com/office/drawing/2014/main" xmlns="" id="{B22F4A5A-9279-C93E-CD3E-E769F5CC4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2259212" y="2721324"/>
              <a:ext cx="2210899" cy="2210899"/>
            </a:xfrm>
            <a:prstGeom prst="rect">
              <a:avLst/>
            </a:prstGeom>
          </p:spPr>
        </p:pic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xmlns="" id="{3858F119-E995-473B-FEC1-EB874CEFA9C4}"/>
                </a:ext>
              </a:extLst>
            </p:cNvPr>
            <p:cNvSpPr txBox="1"/>
            <p:nvPr/>
          </p:nvSpPr>
          <p:spPr>
            <a:xfrm>
              <a:off x="1253238" y="4767501"/>
              <a:ext cx="4222845" cy="7949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Abastecimento</a:t>
              </a:r>
            </a:p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de água</a:t>
              </a:r>
            </a:p>
          </p:txBody>
        </p:sp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ED633FF3-3806-FDF3-D118-0E606644C0F8}"/>
              </a:ext>
            </a:extLst>
          </p:cNvPr>
          <p:cNvSpPr txBox="1"/>
          <p:nvPr/>
        </p:nvSpPr>
        <p:spPr>
          <a:xfrm>
            <a:off x="879856" y="4842813"/>
            <a:ext cx="2148428" cy="1146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85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16%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5C51D169-239B-CEEE-9D4F-48EB993FFF05}"/>
              </a:ext>
            </a:extLst>
          </p:cNvPr>
          <p:cNvSpPr txBox="1"/>
          <p:nvPr/>
        </p:nvSpPr>
        <p:spPr>
          <a:xfrm>
            <a:off x="4286106" y="5849244"/>
            <a:ext cx="3026119" cy="597211"/>
          </a:xfrm>
          <a:prstGeom prst="rect">
            <a:avLst/>
          </a:prstGeom>
          <a:noFill/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s brasileiros NÃO têm</a:t>
            </a:r>
          </a:p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seu esgoto coletado.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1E7AA764-39DA-20AA-643F-5B03399357D1}"/>
              </a:ext>
            </a:extLst>
          </p:cNvPr>
          <p:cNvSpPr txBox="1"/>
          <p:nvPr/>
        </p:nvSpPr>
        <p:spPr>
          <a:xfrm>
            <a:off x="4151058" y="4911115"/>
            <a:ext cx="2148428" cy="1146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85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44%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xmlns="" id="{13CC2D24-F49B-EA28-50CF-925A453F382D}"/>
              </a:ext>
            </a:extLst>
          </p:cNvPr>
          <p:cNvGrpSpPr>
            <a:grpSpLocks noChangeAspect="1"/>
          </p:cNvGrpSpPr>
          <p:nvPr/>
        </p:nvGrpSpPr>
        <p:grpSpPr>
          <a:xfrm>
            <a:off x="3933948" y="2524525"/>
            <a:ext cx="2738564" cy="2268000"/>
            <a:chOff x="5526958" y="2510612"/>
            <a:chExt cx="4222845" cy="3497237"/>
          </a:xfrm>
        </p:grpSpPr>
        <p:sp>
          <p:nvSpPr>
            <p:cNvPr id="20" name="Retângulo Arredondado 19">
              <a:extLst>
                <a:ext uri="{FF2B5EF4-FFF2-40B4-BE49-F238E27FC236}">
                  <a16:creationId xmlns:a16="http://schemas.microsoft.com/office/drawing/2014/main" xmlns="" id="{91D35766-BE27-8585-8202-49CBAAB251A3}"/>
                </a:ext>
              </a:extLst>
            </p:cNvPr>
            <p:cNvSpPr/>
            <p:nvPr/>
          </p:nvSpPr>
          <p:spPr>
            <a:xfrm>
              <a:off x="5792462" y="2510612"/>
              <a:ext cx="3691835" cy="3497237"/>
            </a:xfrm>
            <a:prstGeom prst="roundRect">
              <a:avLst>
                <a:gd name="adj" fmla="val 6475"/>
              </a:avLst>
            </a:prstGeom>
            <a:gradFill flip="none" rotWithShape="1">
              <a:gsLst>
                <a:gs pos="0">
                  <a:srgbClr val="288BB3"/>
                </a:gs>
                <a:gs pos="100000">
                  <a:srgbClr val="9CC42E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55"/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xmlns="" id="{C225182D-8DC0-68D8-DADE-26B8DD19C1F7}"/>
                </a:ext>
              </a:extLst>
            </p:cNvPr>
            <p:cNvSpPr txBox="1"/>
            <p:nvPr/>
          </p:nvSpPr>
          <p:spPr>
            <a:xfrm>
              <a:off x="5526958" y="4815889"/>
              <a:ext cx="4222845" cy="11684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Coleta </a:t>
              </a:r>
            </a:p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de esgoto</a:t>
              </a:r>
            </a:p>
          </p:txBody>
        </p:sp>
        <p:grpSp>
          <p:nvGrpSpPr>
            <p:cNvPr id="34" name="Agrupar 33">
              <a:extLst>
                <a:ext uri="{FF2B5EF4-FFF2-40B4-BE49-F238E27FC236}">
                  <a16:creationId xmlns:a16="http://schemas.microsoft.com/office/drawing/2014/main" xmlns="" id="{0BB23723-E797-3CD5-74F9-14CDD2E29EF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33420" y="2913542"/>
              <a:ext cx="1209918" cy="1826463"/>
              <a:chOff x="3869211" y="3970750"/>
              <a:chExt cx="935758" cy="1412599"/>
            </a:xfrm>
            <a:solidFill>
              <a:schemeClr val="bg1"/>
            </a:solidFill>
          </p:grpSpPr>
          <p:sp>
            <p:nvSpPr>
              <p:cNvPr id="28" name="Trapezoide 27">
                <a:extLst>
                  <a:ext uri="{FF2B5EF4-FFF2-40B4-BE49-F238E27FC236}">
                    <a16:creationId xmlns:a16="http://schemas.microsoft.com/office/drawing/2014/main" xmlns="" id="{E781238A-8F3F-3A35-896F-C7A39797C84D}"/>
                  </a:ext>
                </a:extLst>
              </p:cNvPr>
              <p:cNvSpPr/>
              <p:nvPr/>
            </p:nvSpPr>
            <p:spPr>
              <a:xfrm rot="10800000">
                <a:off x="3869211" y="4089877"/>
                <a:ext cx="935758" cy="490971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29" name="Elipse 28">
                <a:extLst>
                  <a:ext uri="{FF2B5EF4-FFF2-40B4-BE49-F238E27FC236}">
                    <a16:creationId xmlns:a16="http://schemas.microsoft.com/office/drawing/2014/main" xmlns="" id="{57A69662-22D3-3664-C339-E904C3E27772}"/>
                  </a:ext>
                </a:extLst>
              </p:cNvPr>
              <p:cNvSpPr/>
              <p:nvPr/>
            </p:nvSpPr>
            <p:spPr>
              <a:xfrm>
                <a:off x="4002412" y="3970750"/>
                <a:ext cx="642323" cy="729226"/>
              </a:xfrm>
              <a:prstGeom prst="ellipse">
                <a:avLst/>
              </a:prstGeom>
              <a:grpFill/>
              <a:ln w="38100">
                <a:solidFill>
                  <a:srgbClr val="469AA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0" name="Retângulo: Cantos Arredondados 29">
                <a:extLst>
                  <a:ext uri="{FF2B5EF4-FFF2-40B4-BE49-F238E27FC236}">
                    <a16:creationId xmlns:a16="http://schemas.microsoft.com/office/drawing/2014/main" xmlns="" id="{EA766DDD-F9EA-8E73-0C0A-EAE801444E74}"/>
                  </a:ext>
                </a:extLst>
              </p:cNvPr>
              <p:cNvSpPr/>
              <p:nvPr/>
            </p:nvSpPr>
            <p:spPr>
              <a:xfrm>
                <a:off x="3869211" y="4611077"/>
                <a:ext cx="935758" cy="88900"/>
              </a:xfrm>
              <a:prstGeom prst="roundRect">
                <a:avLst>
                  <a:gd name="adj" fmla="val 4770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1" name="Corda 30">
                <a:extLst>
                  <a:ext uri="{FF2B5EF4-FFF2-40B4-BE49-F238E27FC236}">
                    <a16:creationId xmlns:a16="http://schemas.microsoft.com/office/drawing/2014/main" xmlns="" id="{34163E27-DCE5-6531-3659-131FBEA22FC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618092">
                <a:off x="3959121" y="4339175"/>
                <a:ext cx="756000" cy="756000"/>
              </a:xfrm>
              <a:prstGeom prst="chord">
                <a:avLst>
                  <a:gd name="adj1" fmla="val 2700000"/>
                  <a:gd name="adj2" fmla="val 1399537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2" name="Trapezoide 31">
                <a:extLst>
                  <a:ext uri="{FF2B5EF4-FFF2-40B4-BE49-F238E27FC236}">
                    <a16:creationId xmlns:a16="http://schemas.microsoft.com/office/drawing/2014/main" xmlns="" id="{C422F653-7C31-8073-A62A-F608240D1E42}"/>
                  </a:ext>
                </a:extLst>
              </p:cNvPr>
              <p:cNvSpPr/>
              <p:nvPr/>
            </p:nvSpPr>
            <p:spPr>
              <a:xfrm>
                <a:off x="4065428" y="5025440"/>
                <a:ext cx="543322" cy="357909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/>
              </a:p>
            </p:txBody>
          </p:sp>
          <p:sp>
            <p:nvSpPr>
              <p:cNvPr id="33" name="Elipse 32">
                <a:extLst>
                  <a:ext uri="{FF2B5EF4-FFF2-40B4-BE49-F238E27FC236}">
                    <a16:creationId xmlns:a16="http://schemas.microsoft.com/office/drawing/2014/main" xmlns="" id="{86A897E2-6249-B394-CDB4-C41C39D805C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24251" y="4146367"/>
                <a:ext cx="406931" cy="461986"/>
              </a:xfrm>
              <a:prstGeom prst="ellipse">
                <a:avLst/>
              </a:prstGeom>
              <a:grpFill/>
              <a:ln w="349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 dirty="0"/>
              </a:p>
            </p:txBody>
          </p:sp>
        </p:grpSp>
      </p:grp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649C583C-756D-0C11-BA98-036953F6ACDC}"/>
              </a:ext>
            </a:extLst>
          </p:cNvPr>
          <p:cNvSpPr txBox="1"/>
          <p:nvPr/>
        </p:nvSpPr>
        <p:spPr>
          <a:xfrm>
            <a:off x="7149218" y="5890892"/>
            <a:ext cx="2004496" cy="597211"/>
          </a:xfrm>
          <a:prstGeom prst="rect">
            <a:avLst/>
          </a:prstGeom>
          <a:noFill/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1598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 esgoto gerado NÃO é tratado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382FF04E-850F-BFFB-609D-26D08F3156A6}"/>
              </a:ext>
            </a:extLst>
          </p:cNvPr>
          <p:cNvSpPr txBox="1"/>
          <p:nvPr/>
        </p:nvSpPr>
        <p:spPr>
          <a:xfrm>
            <a:off x="7077251" y="4965492"/>
            <a:ext cx="2148428" cy="1146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85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49%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xmlns="" id="{960B2217-D308-E3DD-0FF7-97DF11F036B7}"/>
              </a:ext>
            </a:extLst>
          </p:cNvPr>
          <p:cNvGrpSpPr>
            <a:grpSpLocks noChangeAspect="1"/>
          </p:cNvGrpSpPr>
          <p:nvPr/>
        </p:nvGrpSpPr>
        <p:grpSpPr>
          <a:xfrm>
            <a:off x="7031485" y="2510611"/>
            <a:ext cx="2738567" cy="2268000"/>
            <a:chOff x="9800676" y="2510612"/>
            <a:chExt cx="4222845" cy="3497237"/>
          </a:xfrm>
        </p:grpSpPr>
        <p:sp>
          <p:nvSpPr>
            <p:cNvPr id="25" name="Retângulo Arredondado 24">
              <a:extLst>
                <a:ext uri="{FF2B5EF4-FFF2-40B4-BE49-F238E27FC236}">
                  <a16:creationId xmlns:a16="http://schemas.microsoft.com/office/drawing/2014/main" xmlns="" id="{E067C641-B0FF-4A40-72ED-2E3951833440}"/>
                </a:ext>
              </a:extLst>
            </p:cNvPr>
            <p:cNvSpPr/>
            <p:nvPr/>
          </p:nvSpPr>
          <p:spPr>
            <a:xfrm>
              <a:off x="10066180" y="2510612"/>
              <a:ext cx="3691835" cy="3497237"/>
            </a:xfrm>
            <a:prstGeom prst="roundRect">
              <a:avLst>
                <a:gd name="adj" fmla="val 6475"/>
              </a:avLst>
            </a:prstGeom>
            <a:gradFill flip="none" rotWithShape="1">
              <a:gsLst>
                <a:gs pos="0">
                  <a:srgbClr val="288BB3"/>
                </a:gs>
                <a:gs pos="100000">
                  <a:srgbClr val="9CC42E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55"/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xmlns="" id="{66BE0A1D-63E4-AD17-F3A1-755171759D55}"/>
                </a:ext>
              </a:extLst>
            </p:cNvPr>
            <p:cNvSpPr txBox="1"/>
            <p:nvPr/>
          </p:nvSpPr>
          <p:spPr>
            <a:xfrm>
              <a:off x="9800676" y="4895760"/>
              <a:ext cx="4222845" cy="7949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Tratamento</a:t>
              </a:r>
            </a:p>
            <a:p>
              <a:pPr algn="ctr"/>
              <a:r>
                <a:rPr lang="pt-BR" sz="2283" b="1" dirty="0">
                  <a:solidFill>
                    <a:schemeClr val="bg1"/>
                  </a:solidFill>
                  <a:latin typeface="Helvetica" panose="020B0604020202020204" pitchFamily="2" charset="0"/>
                </a:rPr>
                <a:t>de esgoto</a:t>
              </a:r>
            </a:p>
          </p:txBody>
        </p:sp>
        <p:grpSp>
          <p:nvGrpSpPr>
            <p:cNvPr id="60" name="Agrupar 59">
              <a:extLst>
                <a:ext uri="{FF2B5EF4-FFF2-40B4-BE49-F238E27FC236}">
                  <a16:creationId xmlns:a16="http://schemas.microsoft.com/office/drawing/2014/main" xmlns="" id="{10353AF2-450E-C2B8-A846-4577505D30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37133" y="2911534"/>
              <a:ext cx="2246970" cy="1828471"/>
              <a:chOff x="2200817" y="6993790"/>
              <a:chExt cx="1622004" cy="1319905"/>
            </a:xfrm>
            <a:solidFill>
              <a:schemeClr val="bg1"/>
            </a:solidFill>
          </p:grpSpPr>
          <p:grpSp>
            <p:nvGrpSpPr>
              <p:cNvPr id="48" name="Agrupar 47">
                <a:extLst>
                  <a:ext uri="{FF2B5EF4-FFF2-40B4-BE49-F238E27FC236}">
                    <a16:creationId xmlns:a16="http://schemas.microsoft.com/office/drawing/2014/main" xmlns="" id="{0C8ECE74-6891-D540-8130-09EB80EC29A3}"/>
                  </a:ext>
                </a:extLst>
              </p:cNvPr>
              <p:cNvGrpSpPr/>
              <p:nvPr/>
            </p:nvGrpSpPr>
            <p:grpSpPr>
              <a:xfrm>
                <a:off x="2218478" y="7864376"/>
                <a:ext cx="1604343" cy="449319"/>
                <a:chOff x="3428551" y="7704081"/>
                <a:chExt cx="2030223" cy="449319"/>
              </a:xfrm>
              <a:grpFill/>
            </p:grpSpPr>
            <p:pic>
              <p:nvPicPr>
                <p:cNvPr id="46" name="Gráfico 45" descr="Onda com preenchimento sólido">
                  <a:extLst>
                    <a:ext uri="{FF2B5EF4-FFF2-40B4-BE49-F238E27FC236}">
                      <a16:creationId xmlns:a16="http://schemas.microsoft.com/office/drawing/2014/main" xmlns="" id="{6B77F1EE-6579-5027-4BFF-76AA5E6B14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  <a:srcRect t="72563" b="15551"/>
                <a:stretch/>
              </p:blipFill>
              <p:spPr>
                <a:xfrm>
                  <a:off x="3428551" y="7912100"/>
                  <a:ext cx="2030223" cy="241300"/>
                </a:xfrm>
                <a:prstGeom prst="rect">
                  <a:avLst/>
                </a:prstGeom>
              </p:spPr>
            </p:pic>
            <p:pic>
              <p:nvPicPr>
                <p:cNvPr id="47" name="Gráfico 46" descr="Onda com preenchimento sólido">
                  <a:extLst>
                    <a:ext uri="{FF2B5EF4-FFF2-40B4-BE49-F238E27FC236}">
                      <a16:creationId xmlns:a16="http://schemas.microsoft.com/office/drawing/2014/main" xmlns="" id="{3E7A5F97-54DB-ABCA-BC2C-90090D3627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  <a:srcRect t="72563" b="15551"/>
                <a:stretch/>
              </p:blipFill>
              <p:spPr>
                <a:xfrm>
                  <a:off x="3428551" y="7704081"/>
                  <a:ext cx="2030223" cy="241300"/>
                </a:xfrm>
                <a:prstGeom prst="rect">
                  <a:avLst/>
                </a:prstGeom>
              </p:spPr>
            </p:pic>
          </p:grpSp>
          <p:grpSp>
            <p:nvGrpSpPr>
              <p:cNvPr id="54" name="Agrupar 53">
                <a:extLst>
                  <a:ext uri="{FF2B5EF4-FFF2-40B4-BE49-F238E27FC236}">
                    <a16:creationId xmlns:a16="http://schemas.microsoft.com/office/drawing/2014/main" xmlns="" id="{9D837B7B-F39F-44F5-F595-EEFBC63FF2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00817" y="6993790"/>
                <a:ext cx="663943" cy="654324"/>
                <a:chOff x="1969559" y="4468026"/>
                <a:chExt cx="1126938" cy="1110612"/>
              </a:xfrm>
              <a:grpFill/>
            </p:grpSpPr>
            <p:sp>
              <p:nvSpPr>
                <p:cNvPr id="50" name="Retângulo: Cantos Arredondados 49">
                  <a:extLst>
                    <a:ext uri="{FF2B5EF4-FFF2-40B4-BE49-F238E27FC236}">
                      <a16:creationId xmlns:a16="http://schemas.microsoft.com/office/drawing/2014/main" xmlns="" id="{093128C6-CA45-268B-1C49-EDACF3289724}"/>
                    </a:ext>
                  </a:extLst>
                </p:cNvPr>
                <p:cNvSpPr/>
                <p:nvPr/>
              </p:nvSpPr>
              <p:spPr>
                <a:xfrm>
                  <a:off x="1969559" y="4610100"/>
                  <a:ext cx="1071563" cy="826464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2055"/>
                </a:p>
              </p:txBody>
            </p:sp>
            <p:sp>
              <p:nvSpPr>
                <p:cNvPr id="51" name="Retângulo: Cantos Arredondados 50">
                  <a:extLst>
                    <a:ext uri="{FF2B5EF4-FFF2-40B4-BE49-F238E27FC236}">
                      <a16:creationId xmlns:a16="http://schemas.microsoft.com/office/drawing/2014/main" xmlns="" id="{6089BFCF-911F-4A65-3FC0-AD878E84AF5A}"/>
                    </a:ext>
                  </a:extLst>
                </p:cNvPr>
                <p:cNvSpPr/>
                <p:nvPr/>
              </p:nvSpPr>
              <p:spPr>
                <a:xfrm>
                  <a:off x="2902123" y="4468026"/>
                  <a:ext cx="194374" cy="1110612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2055"/>
                </a:p>
              </p:txBody>
            </p:sp>
          </p:grpSp>
          <p:pic>
            <p:nvPicPr>
              <p:cNvPr id="56" name="Gráfico 55" descr="Água com preenchimento sólido">
                <a:extLst>
                  <a:ext uri="{FF2B5EF4-FFF2-40B4-BE49-F238E27FC236}">
                    <a16:creationId xmlns:a16="http://schemas.microsoft.com/office/drawing/2014/main" xmlns="" id="{F88EA23D-C4EB-DD97-0335-A3C75DD05B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 rot="19983450">
                <a:off x="2851903" y="7411641"/>
                <a:ext cx="314797" cy="314797"/>
              </a:xfrm>
              <a:prstGeom prst="rect">
                <a:avLst/>
              </a:prstGeom>
            </p:spPr>
          </p:pic>
          <p:pic>
            <p:nvPicPr>
              <p:cNvPr id="58" name="Gráfico 57" descr="Água com preenchimento sólido">
                <a:extLst>
                  <a:ext uri="{FF2B5EF4-FFF2-40B4-BE49-F238E27FC236}">
                    <a16:creationId xmlns:a16="http://schemas.microsoft.com/office/drawing/2014/main" xmlns="" id="{85FE2DDC-D960-B44C-EA30-D54690D911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 rot="20749311">
                <a:off x="3097720" y="7487829"/>
                <a:ext cx="348038" cy="348038"/>
              </a:xfrm>
              <a:prstGeom prst="rect">
                <a:avLst/>
              </a:prstGeom>
            </p:spPr>
          </p:pic>
          <p:pic>
            <p:nvPicPr>
              <p:cNvPr id="59" name="Gráfico 58" descr="Água com preenchimento sólido">
                <a:extLst>
                  <a:ext uri="{FF2B5EF4-FFF2-40B4-BE49-F238E27FC236}">
                    <a16:creationId xmlns:a16="http://schemas.microsoft.com/office/drawing/2014/main" xmlns="" id="{3FEF8242-5D40-6D34-039A-28BD2564C1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 rot="19345173">
                <a:off x="2942896" y="7186281"/>
                <a:ext cx="314797" cy="314797"/>
              </a:xfrm>
              <a:prstGeom prst="rect">
                <a:avLst/>
              </a:prstGeom>
            </p:spPr>
          </p:pic>
        </p:grp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2CAD4A00-DA8E-B092-9B16-99BCACD80218}"/>
              </a:ext>
            </a:extLst>
          </p:cNvPr>
          <p:cNvSpPr txBox="1"/>
          <p:nvPr/>
        </p:nvSpPr>
        <p:spPr>
          <a:xfrm>
            <a:off x="5073459" y="8163443"/>
            <a:ext cx="5304830" cy="2075179"/>
          </a:xfrm>
          <a:prstGeom prst="rect">
            <a:avLst/>
          </a:prstGeom>
          <a:noFill/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3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R$ 893 bilhões é o volume de investimentos necessários para alcançar a universalização</a:t>
            </a:r>
            <a:endParaRPr lang="pt-BR" sz="3200" b="1" kern="0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FF"/>
              </a:highlight>
              <a:latin typeface="Helvetica" panose="020B0604020202020204" pitchFamily="2" charset="0"/>
            </a:endParaRPr>
          </a:p>
        </p:txBody>
      </p:sp>
      <p:sp>
        <p:nvSpPr>
          <p:cNvPr id="36" name="Retângulo Arredondado 35">
            <a:extLst>
              <a:ext uri="{FF2B5EF4-FFF2-40B4-BE49-F238E27FC236}">
                <a16:creationId xmlns:a16="http://schemas.microsoft.com/office/drawing/2014/main" xmlns="" id="{B5BDECDB-B19F-E737-201C-AD2E1730490B}"/>
              </a:ext>
            </a:extLst>
          </p:cNvPr>
          <p:cNvSpPr/>
          <p:nvPr/>
        </p:nvSpPr>
        <p:spPr>
          <a:xfrm>
            <a:off x="1122283" y="6882786"/>
            <a:ext cx="3691835" cy="3497237"/>
          </a:xfrm>
          <a:prstGeom prst="roundRect">
            <a:avLst>
              <a:gd name="adj" fmla="val 6475"/>
            </a:avLst>
          </a:prstGeom>
          <a:gradFill flip="none" rotWithShape="1">
            <a:gsLst>
              <a:gs pos="0">
                <a:srgbClr val="288BB3"/>
              </a:gs>
              <a:gs pos="100000">
                <a:srgbClr val="9CC42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211BA541-1FF7-5141-31C2-802A40008FFC}"/>
              </a:ext>
            </a:extLst>
          </p:cNvPr>
          <p:cNvSpPr txBox="1"/>
          <p:nvPr/>
        </p:nvSpPr>
        <p:spPr>
          <a:xfrm>
            <a:off x="882240" y="8754621"/>
            <a:ext cx="4222845" cy="1041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165" b="1" dirty="0">
                <a:solidFill>
                  <a:schemeClr val="bg1"/>
                </a:solidFill>
                <a:latin typeface="Helvetica" panose="020B0604020202020204" pitchFamily="2" charset="0"/>
              </a:rPr>
              <a:t>bilhões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xmlns="" id="{6C6B0A93-C4D4-505A-5942-962C7EDF6B5D}"/>
              </a:ext>
            </a:extLst>
          </p:cNvPr>
          <p:cNvSpPr txBox="1"/>
          <p:nvPr/>
        </p:nvSpPr>
        <p:spPr>
          <a:xfrm>
            <a:off x="1195770" y="7522481"/>
            <a:ext cx="4222845" cy="163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46" b="1" dirty="0">
                <a:solidFill>
                  <a:schemeClr val="bg1"/>
                </a:solidFill>
                <a:latin typeface="Helvetica" panose="020B0604020202020204" pitchFamily="2" charset="0"/>
              </a:rPr>
              <a:t>893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xmlns="" id="{5CD26A69-8D1D-1459-FDFD-EB66F4BE491C}"/>
              </a:ext>
            </a:extLst>
          </p:cNvPr>
          <p:cNvSpPr txBox="1"/>
          <p:nvPr/>
        </p:nvSpPr>
        <p:spPr>
          <a:xfrm>
            <a:off x="1455111" y="7740627"/>
            <a:ext cx="932251" cy="654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53" b="1" dirty="0">
                <a:solidFill>
                  <a:schemeClr val="bg1"/>
                </a:solidFill>
                <a:latin typeface="Helvetica" panose="020B0604020202020204" pitchFamily="2" charset="0"/>
              </a:rPr>
              <a:t>R$</a:t>
            </a:r>
          </a:p>
        </p:txBody>
      </p:sp>
      <p:sp>
        <p:nvSpPr>
          <p:cNvPr id="8" name="Círculo Parcial 7">
            <a:extLst>
              <a:ext uri="{FF2B5EF4-FFF2-40B4-BE49-F238E27FC236}">
                <a16:creationId xmlns:a16="http://schemas.microsoft.com/office/drawing/2014/main" xmlns="" id="{28C0735B-BB5F-8E90-BFE3-59CE40C23994}"/>
              </a:ext>
            </a:extLst>
          </p:cNvPr>
          <p:cNvSpPr>
            <a:spLocks noChangeAspect="1"/>
          </p:cNvSpPr>
          <p:nvPr/>
        </p:nvSpPr>
        <p:spPr>
          <a:xfrm rot="15616229">
            <a:off x="10063521" y="3063572"/>
            <a:ext cx="5851414" cy="5851414"/>
          </a:xfrm>
          <a:prstGeom prst="pie">
            <a:avLst>
              <a:gd name="adj1" fmla="val 99605"/>
              <a:gd name="adj2" fmla="val 16113512"/>
            </a:avLst>
          </a:prstGeom>
          <a:gradFill flip="none" rotWithShape="1">
            <a:gsLst>
              <a:gs pos="0">
                <a:srgbClr val="288BB3"/>
              </a:gs>
              <a:gs pos="100000">
                <a:srgbClr val="9CC42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559BCE31-18E1-84FE-AB61-8B12702DB392}"/>
              </a:ext>
            </a:extLst>
          </p:cNvPr>
          <p:cNvSpPr txBox="1"/>
          <p:nvPr/>
        </p:nvSpPr>
        <p:spPr>
          <a:xfrm>
            <a:off x="16098615" y="5186709"/>
            <a:ext cx="3669567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dos brasileiros que NÃO têm acesso à coleta de esgoto</a:t>
            </a:r>
          </a:p>
          <a:p>
            <a:r>
              <a:rPr lang="pt-BR" sz="3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</a:rPr>
              <a:t>têm rendimento mensal ABAIXO DE UM SALÁRIO-MÍNIMO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E6709FC8-3C66-E852-0E7C-E9085E1BD750}"/>
              </a:ext>
            </a:extLst>
          </p:cNvPr>
          <p:cNvSpPr txBox="1"/>
          <p:nvPr/>
        </p:nvSpPr>
        <p:spPr>
          <a:xfrm>
            <a:off x="15808561" y="3914689"/>
            <a:ext cx="30368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600" b="1" dirty="0">
                <a:gradFill>
                  <a:gsLst>
                    <a:gs pos="64000">
                      <a:srgbClr val="288BB3"/>
                    </a:gs>
                    <a:gs pos="0">
                      <a:srgbClr val="9CC42E"/>
                    </a:gs>
                  </a:gsLst>
                  <a:lin ang="2700000" scaled="1"/>
                </a:gradFill>
                <a:latin typeface="Helvetica" pitchFamily="2" charset="0"/>
              </a:rPr>
              <a:t>74%</a:t>
            </a:r>
          </a:p>
        </p:txBody>
      </p:sp>
    </p:spTree>
    <p:extLst>
      <p:ext uri="{BB962C8B-B14F-4D97-AF65-F5344CB8AC3E}">
        <p14:creationId xmlns:p14="http://schemas.microsoft.com/office/powerpoint/2010/main" val="2760591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7" name="CaixaDeTexto 3086">
            <a:extLst>
              <a:ext uri="{FF2B5EF4-FFF2-40B4-BE49-F238E27FC236}">
                <a16:creationId xmlns:a16="http://schemas.microsoft.com/office/drawing/2014/main" xmlns="" id="{600C7D37-E7DA-8765-7AFE-9736C4FC047E}"/>
              </a:ext>
            </a:extLst>
          </p:cNvPr>
          <p:cNvSpPr txBox="1"/>
          <p:nvPr/>
        </p:nvSpPr>
        <p:spPr>
          <a:xfrm>
            <a:off x="12531334" y="4955044"/>
            <a:ext cx="680680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/>
              <a:t>Conforme estimativa da </a:t>
            </a:r>
            <a:r>
              <a:rPr lang="pt-BR" sz="2800" b="1" dirty="0"/>
              <a:t>GO Associados</a:t>
            </a:r>
            <a:r>
              <a:rPr lang="pt-BR" sz="2800" dirty="0"/>
              <a:t>, a carga tributária efetiva (PIS/COFINS + resíduos tributários) incidente sobre o setor de saneamento </a:t>
            </a:r>
            <a:r>
              <a:rPr lang="pt-BR" sz="2800" b="1" u="sng" dirty="0"/>
              <a:t>atualmente é de 10%</a:t>
            </a:r>
            <a:r>
              <a:rPr lang="pt-BR" sz="2800" b="1" dirty="0"/>
              <a:t> sobre a receita bruta.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8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/>
              <a:t>A incidência efetiva </a:t>
            </a:r>
            <a:r>
              <a:rPr lang="pt-BR" sz="2800" b="1" u="sng" dirty="0"/>
              <a:t>aumentaria em 30%</a:t>
            </a:r>
            <a:r>
              <a:rPr lang="pt-BR" sz="2800" b="1" dirty="0"/>
              <a:t> com a implementação da reforma proposta. </a:t>
            </a:r>
            <a:r>
              <a:rPr lang="pt-BR" sz="2800" dirty="0"/>
              <a:t>Essa alteração geraria uma série de impactos.</a:t>
            </a:r>
          </a:p>
        </p:txBody>
      </p:sp>
      <p:sp>
        <p:nvSpPr>
          <p:cNvPr id="3094" name="Retângulo 3093">
            <a:extLst>
              <a:ext uri="{FF2B5EF4-FFF2-40B4-BE49-F238E27FC236}">
                <a16:creationId xmlns:a16="http://schemas.microsoft.com/office/drawing/2014/main" xmlns="" id="{8D2C8113-555B-C140-F227-B3CBBDDBA889}"/>
              </a:ext>
            </a:extLst>
          </p:cNvPr>
          <p:cNvSpPr/>
          <p:nvPr/>
        </p:nvSpPr>
        <p:spPr>
          <a:xfrm>
            <a:off x="1425595" y="6357174"/>
            <a:ext cx="1331407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PIS</a:t>
            </a:r>
          </a:p>
        </p:txBody>
      </p:sp>
      <p:sp>
        <p:nvSpPr>
          <p:cNvPr id="3095" name="Retângulo 3094">
            <a:extLst>
              <a:ext uri="{FF2B5EF4-FFF2-40B4-BE49-F238E27FC236}">
                <a16:creationId xmlns:a16="http://schemas.microsoft.com/office/drawing/2014/main" xmlns="" id="{A7082790-D107-37A5-41F6-D547AF8D5105}"/>
              </a:ext>
            </a:extLst>
          </p:cNvPr>
          <p:cNvSpPr/>
          <p:nvPr/>
        </p:nvSpPr>
        <p:spPr>
          <a:xfrm>
            <a:off x="2947642" y="6357174"/>
            <a:ext cx="1331407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1199" b="1" dirty="0">
                <a:latin typeface="Helvetica" panose="020B0604020202020204" pitchFamily="2" charset="0"/>
              </a:rPr>
              <a:t>COFINS</a:t>
            </a:r>
          </a:p>
        </p:txBody>
      </p:sp>
      <p:sp>
        <p:nvSpPr>
          <p:cNvPr id="3096" name="Retângulo 3095">
            <a:extLst>
              <a:ext uri="{FF2B5EF4-FFF2-40B4-BE49-F238E27FC236}">
                <a16:creationId xmlns:a16="http://schemas.microsoft.com/office/drawing/2014/main" xmlns="" id="{41831F3E-ACB7-3F2F-663E-35058C71592C}"/>
              </a:ext>
            </a:extLst>
          </p:cNvPr>
          <p:cNvSpPr/>
          <p:nvPr/>
        </p:nvSpPr>
        <p:spPr>
          <a:xfrm>
            <a:off x="4432064" y="6357174"/>
            <a:ext cx="1331407" cy="51982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PI</a:t>
            </a:r>
          </a:p>
        </p:txBody>
      </p:sp>
      <p:pic>
        <p:nvPicPr>
          <p:cNvPr id="3100" name="Gráfico 3099" descr="Adicionar com preenchimento sólido">
            <a:extLst>
              <a:ext uri="{FF2B5EF4-FFF2-40B4-BE49-F238E27FC236}">
                <a16:creationId xmlns:a16="http://schemas.microsoft.com/office/drawing/2014/main" xmlns="" id="{E56D0D1A-B00A-A94F-4498-C468F60635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686118" y="6462421"/>
            <a:ext cx="328471" cy="328471"/>
          </a:xfrm>
          <a:prstGeom prst="rect">
            <a:avLst/>
          </a:prstGeom>
        </p:spPr>
      </p:pic>
      <p:pic>
        <p:nvPicPr>
          <p:cNvPr id="3101" name="Gráfico 3100" descr="Adicionar com preenchimento sólido">
            <a:extLst>
              <a:ext uri="{FF2B5EF4-FFF2-40B4-BE49-F238E27FC236}">
                <a16:creationId xmlns:a16="http://schemas.microsoft.com/office/drawing/2014/main" xmlns="" id="{C9FF4F10-8ACB-C0EB-93DC-F16AAB1906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191321" y="6462421"/>
            <a:ext cx="328471" cy="328471"/>
          </a:xfrm>
          <a:prstGeom prst="rect">
            <a:avLst/>
          </a:prstGeom>
        </p:spPr>
      </p:pic>
      <p:sp>
        <p:nvSpPr>
          <p:cNvPr id="3103" name="CaixaDeTexto 3102">
            <a:extLst>
              <a:ext uri="{FF2B5EF4-FFF2-40B4-BE49-F238E27FC236}">
                <a16:creationId xmlns:a16="http://schemas.microsoft.com/office/drawing/2014/main" xmlns="" id="{F304CF57-0CA0-8F99-47D0-8EB829C42C20}"/>
              </a:ext>
            </a:extLst>
          </p:cNvPr>
          <p:cNvSpPr txBox="1"/>
          <p:nvPr/>
        </p:nvSpPr>
        <p:spPr>
          <a:xfrm>
            <a:off x="2734230" y="8852234"/>
            <a:ext cx="1685988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55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Chega a 9,25%</a:t>
            </a:r>
          </a:p>
        </p:txBody>
      </p:sp>
      <p:sp>
        <p:nvSpPr>
          <p:cNvPr id="3115" name="Colchete Esquerdo 3114">
            <a:extLst>
              <a:ext uri="{FF2B5EF4-FFF2-40B4-BE49-F238E27FC236}">
                <a16:creationId xmlns:a16="http://schemas.microsoft.com/office/drawing/2014/main" xmlns="" id="{4A9ADC9D-587B-8D1A-69D4-A2924F902721}"/>
              </a:ext>
            </a:extLst>
          </p:cNvPr>
          <p:cNvSpPr/>
          <p:nvPr/>
        </p:nvSpPr>
        <p:spPr>
          <a:xfrm rot="10800000">
            <a:off x="11216633" y="5984135"/>
            <a:ext cx="52194" cy="248034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3116" name="CaixaDeTexto 3115">
            <a:extLst>
              <a:ext uri="{FF2B5EF4-FFF2-40B4-BE49-F238E27FC236}">
                <a16:creationId xmlns:a16="http://schemas.microsoft.com/office/drawing/2014/main" xmlns="" id="{D2220F80-1581-F52D-31A7-4BB7C9F85782}"/>
              </a:ext>
            </a:extLst>
          </p:cNvPr>
          <p:cNvSpPr txBox="1"/>
          <p:nvPr/>
        </p:nvSpPr>
        <p:spPr>
          <a:xfrm>
            <a:off x="11072515" y="7093730"/>
            <a:ext cx="972001" cy="232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13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IVA DUAL</a:t>
            </a:r>
          </a:p>
        </p:txBody>
      </p:sp>
      <p:sp>
        <p:nvSpPr>
          <p:cNvPr id="3117" name="Retângulo 3116">
            <a:extLst>
              <a:ext uri="{FF2B5EF4-FFF2-40B4-BE49-F238E27FC236}">
                <a16:creationId xmlns:a16="http://schemas.microsoft.com/office/drawing/2014/main" xmlns="" id="{AEF8EFE9-452C-5DB6-CF77-2E7418FA407D}"/>
              </a:ext>
            </a:extLst>
          </p:cNvPr>
          <p:cNvSpPr>
            <a:spLocks noChangeAspect="1"/>
          </p:cNvSpPr>
          <p:nvPr/>
        </p:nvSpPr>
        <p:spPr>
          <a:xfrm>
            <a:off x="6922170" y="10000778"/>
            <a:ext cx="215807" cy="21600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98" b="1" dirty="0">
              <a:latin typeface="Helvetica" panose="020B0604020202020204" pitchFamily="2" charset="0"/>
            </a:endParaRPr>
          </a:p>
        </p:txBody>
      </p:sp>
      <p:sp>
        <p:nvSpPr>
          <p:cNvPr id="3118" name="Retângulo 3117">
            <a:extLst>
              <a:ext uri="{FF2B5EF4-FFF2-40B4-BE49-F238E27FC236}">
                <a16:creationId xmlns:a16="http://schemas.microsoft.com/office/drawing/2014/main" xmlns="" id="{90977EDA-546A-75A2-FE6B-30D36F4F23E9}"/>
              </a:ext>
            </a:extLst>
          </p:cNvPr>
          <p:cNvSpPr>
            <a:spLocks noChangeAspect="1"/>
          </p:cNvSpPr>
          <p:nvPr/>
        </p:nvSpPr>
        <p:spPr>
          <a:xfrm>
            <a:off x="5275812" y="10000621"/>
            <a:ext cx="215807" cy="21600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98" b="1" dirty="0">
              <a:latin typeface="Helvetica" panose="020B0604020202020204" pitchFamily="2" charset="0"/>
            </a:endParaRPr>
          </a:p>
        </p:txBody>
      </p:sp>
      <p:sp>
        <p:nvSpPr>
          <p:cNvPr id="3119" name="CaixaDeTexto 3118">
            <a:extLst>
              <a:ext uri="{FF2B5EF4-FFF2-40B4-BE49-F238E27FC236}">
                <a16:creationId xmlns:a16="http://schemas.microsoft.com/office/drawing/2014/main" xmlns="" id="{8CC1B27D-6BD8-AF25-CCF0-E2E31BA9C62C}"/>
              </a:ext>
            </a:extLst>
          </p:cNvPr>
          <p:cNvSpPr txBox="1"/>
          <p:nvPr/>
        </p:nvSpPr>
        <p:spPr>
          <a:xfrm>
            <a:off x="7145867" y="9920446"/>
            <a:ext cx="2880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Não incidente</a:t>
            </a:r>
          </a:p>
        </p:txBody>
      </p:sp>
      <p:sp>
        <p:nvSpPr>
          <p:cNvPr id="3120" name="CaixaDeTexto 3119">
            <a:extLst>
              <a:ext uri="{FF2B5EF4-FFF2-40B4-BE49-F238E27FC236}">
                <a16:creationId xmlns:a16="http://schemas.microsoft.com/office/drawing/2014/main" xmlns="" id="{3AB4094A-AF80-792E-5E14-1C342F22F3F5}"/>
              </a:ext>
            </a:extLst>
          </p:cNvPr>
          <p:cNvSpPr txBox="1"/>
          <p:nvPr/>
        </p:nvSpPr>
        <p:spPr>
          <a:xfrm>
            <a:off x="5491619" y="9910779"/>
            <a:ext cx="14384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Incid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9F56BEC4-F5DD-0E0A-29DD-ACAFB7D9E2F9}"/>
              </a:ext>
            </a:extLst>
          </p:cNvPr>
          <p:cNvSpPr txBox="1"/>
          <p:nvPr/>
        </p:nvSpPr>
        <p:spPr>
          <a:xfrm>
            <a:off x="876879" y="1851138"/>
            <a:ext cx="1846125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tualmente, o setor de saneamento é contribuinte apenas do PIS/COFINS.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Os custos (CAPEX e OPEX) do setor incorporam a cumulatividade do ISS e do ICMS embutidos nos preços dos insumos, mercadorias e serviços utilizados.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Na proposta atual, a alíquota do setor salta de 9,25% (PIS/COFINS) para alíquota estimada de 27% (IBS/ CBS). </a:t>
            </a:r>
          </a:p>
        </p:txBody>
      </p:sp>
      <p:sp>
        <p:nvSpPr>
          <p:cNvPr id="20" name="Retângulo Arredondado 19">
            <a:extLst>
              <a:ext uri="{FF2B5EF4-FFF2-40B4-BE49-F238E27FC236}">
                <a16:creationId xmlns:a16="http://schemas.microsoft.com/office/drawing/2014/main" xmlns="" id="{7264C088-9DAF-6261-F978-51FAF149C328}"/>
              </a:ext>
            </a:extLst>
          </p:cNvPr>
          <p:cNvSpPr/>
          <p:nvPr/>
        </p:nvSpPr>
        <p:spPr>
          <a:xfrm>
            <a:off x="876879" y="5435877"/>
            <a:ext cx="5400691" cy="4358094"/>
          </a:xfrm>
          <a:prstGeom prst="roundRect">
            <a:avLst>
              <a:gd name="adj" fmla="val 10750"/>
            </a:avLst>
          </a:prstGeom>
          <a:noFill/>
          <a:ln>
            <a:solidFill>
              <a:srgbClr val="9CC4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21" name="Retângulo: Cantos Arredondados 3078">
            <a:extLst>
              <a:ext uri="{FF2B5EF4-FFF2-40B4-BE49-F238E27FC236}">
                <a16:creationId xmlns:a16="http://schemas.microsoft.com/office/drawing/2014/main" xmlns="" id="{7BCC1B49-D6D1-7CBE-AA7C-6C29D2AD3BF9}"/>
              </a:ext>
            </a:extLst>
          </p:cNvPr>
          <p:cNvSpPr/>
          <p:nvPr/>
        </p:nvSpPr>
        <p:spPr>
          <a:xfrm>
            <a:off x="1976778" y="5153582"/>
            <a:ext cx="3273132" cy="519820"/>
          </a:xfrm>
          <a:prstGeom prst="roundRect">
            <a:avLst>
              <a:gd name="adj" fmla="val 27959"/>
            </a:avLst>
          </a:prstGeom>
          <a:solidFill>
            <a:srgbClr val="9CC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55" b="1" dirty="0">
                <a:latin typeface="Helvetica" panose="020B0604020202020204" pitchFamily="2" charset="0"/>
              </a:rPr>
              <a:t>Regime atual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1235509" y="947837"/>
            <a:ext cx="8154212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Impacto da Reforma no setor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F247EFAF-36A3-A893-8FE4-8D8B482F062B}"/>
              </a:ext>
            </a:extLst>
          </p:cNvPr>
          <p:cNvSpPr txBox="1"/>
          <p:nvPr/>
        </p:nvSpPr>
        <p:spPr>
          <a:xfrm>
            <a:off x="2381293" y="5984135"/>
            <a:ext cx="2356347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Federais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4A2CDD3F-52CA-34FC-930B-C7F6AA8DCC76}"/>
              </a:ext>
            </a:extLst>
          </p:cNvPr>
          <p:cNvSpPr/>
          <p:nvPr/>
        </p:nvSpPr>
        <p:spPr>
          <a:xfrm>
            <a:off x="2137827" y="7714102"/>
            <a:ext cx="1331407" cy="51982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CM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xmlns="" id="{14CC7254-19D1-58D2-51FD-34E8E10FB9AD}"/>
              </a:ext>
            </a:extLst>
          </p:cNvPr>
          <p:cNvSpPr/>
          <p:nvPr/>
        </p:nvSpPr>
        <p:spPr>
          <a:xfrm>
            <a:off x="3659874" y="7714102"/>
            <a:ext cx="1331407" cy="51982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SS</a:t>
            </a:r>
          </a:p>
        </p:txBody>
      </p:sp>
      <p:pic>
        <p:nvPicPr>
          <p:cNvPr id="26" name="Gráfico 25" descr="Adicionar com preenchimento sólido">
            <a:extLst>
              <a:ext uri="{FF2B5EF4-FFF2-40B4-BE49-F238E27FC236}">
                <a16:creationId xmlns:a16="http://schemas.microsoft.com/office/drawing/2014/main" xmlns="" id="{953ACE46-A231-E7F2-03EC-1884BB3678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398350" y="7819349"/>
            <a:ext cx="328471" cy="328471"/>
          </a:xfrm>
          <a:prstGeom prst="rect">
            <a:avLst/>
          </a:prstGeom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2DF54D69-0D5F-C8FD-99C4-556FA156E487}"/>
              </a:ext>
            </a:extLst>
          </p:cNvPr>
          <p:cNvSpPr txBox="1"/>
          <p:nvPr/>
        </p:nvSpPr>
        <p:spPr>
          <a:xfrm>
            <a:off x="2094378" y="7345250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Estaduais e Municipai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39552E46-D685-739E-F5C0-F39A5808A778}"/>
              </a:ext>
            </a:extLst>
          </p:cNvPr>
          <p:cNvSpPr txBox="1"/>
          <p:nvPr/>
        </p:nvSpPr>
        <p:spPr>
          <a:xfrm>
            <a:off x="2094378" y="8620827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líquota</a:t>
            </a: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xmlns="" id="{9C46926F-677D-CDC1-2A82-FBED5AFCDB8A}"/>
              </a:ext>
            </a:extLst>
          </p:cNvPr>
          <p:cNvSpPr/>
          <p:nvPr/>
        </p:nvSpPr>
        <p:spPr>
          <a:xfrm>
            <a:off x="7502103" y="6357174"/>
            <a:ext cx="3654116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CBS</a:t>
            </a:r>
          </a:p>
        </p:txBody>
      </p:sp>
      <p:sp>
        <p:nvSpPr>
          <p:cNvPr id="3078" name="CaixaDeTexto 3077">
            <a:extLst>
              <a:ext uri="{FF2B5EF4-FFF2-40B4-BE49-F238E27FC236}">
                <a16:creationId xmlns:a16="http://schemas.microsoft.com/office/drawing/2014/main" xmlns="" id="{D45A6CD2-6AEF-0691-A10C-5552B8C0E625}"/>
              </a:ext>
            </a:extLst>
          </p:cNvPr>
          <p:cNvSpPr txBox="1"/>
          <p:nvPr/>
        </p:nvSpPr>
        <p:spPr>
          <a:xfrm>
            <a:off x="8747855" y="8852234"/>
            <a:ext cx="1685988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55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Estimada em 27%</a:t>
            </a:r>
          </a:p>
        </p:txBody>
      </p:sp>
      <p:sp>
        <p:nvSpPr>
          <p:cNvPr id="3080" name="Retângulo Arredondado 3079">
            <a:extLst>
              <a:ext uri="{FF2B5EF4-FFF2-40B4-BE49-F238E27FC236}">
                <a16:creationId xmlns:a16="http://schemas.microsoft.com/office/drawing/2014/main" xmlns="" id="{F474BA86-BF9C-C229-F934-D1D79CDDCD73}"/>
              </a:ext>
            </a:extLst>
          </p:cNvPr>
          <p:cNvSpPr/>
          <p:nvPr/>
        </p:nvSpPr>
        <p:spPr>
          <a:xfrm>
            <a:off x="6890503" y="5435877"/>
            <a:ext cx="5400691" cy="4358094"/>
          </a:xfrm>
          <a:prstGeom prst="roundRect">
            <a:avLst>
              <a:gd name="adj" fmla="val 10750"/>
            </a:avLst>
          </a:prstGeom>
          <a:noFill/>
          <a:ln>
            <a:solidFill>
              <a:srgbClr val="288BB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55"/>
          </a:p>
        </p:txBody>
      </p:sp>
      <p:sp>
        <p:nvSpPr>
          <p:cNvPr id="3082" name="Retângulo: Cantos Arredondados 3078">
            <a:extLst>
              <a:ext uri="{FF2B5EF4-FFF2-40B4-BE49-F238E27FC236}">
                <a16:creationId xmlns:a16="http://schemas.microsoft.com/office/drawing/2014/main" xmlns="" id="{3F94FF31-88AE-ADA9-E363-3255A34E097F}"/>
              </a:ext>
            </a:extLst>
          </p:cNvPr>
          <p:cNvSpPr/>
          <p:nvPr/>
        </p:nvSpPr>
        <p:spPr>
          <a:xfrm>
            <a:off x="7990403" y="5153582"/>
            <a:ext cx="3273132" cy="519820"/>
          </a:xfrm>
          <a:prstGeom prst="roundRect">
            <a:avLst>
              <a:gd name="adj" fmla="val 27959"/>
            </a:avLst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55" b="1" dirty="0">
                <a:latin typeface="Helvetica" panose="020B0604020202020204" pitchFamily="2" charset="0"/>
              </a:rPr>
              <a:t>Regime proposto</a:t>
            </a:r>
          </a:p>
        </p:txBody>
      </p:sp>
      <p:sp>
        <p:nvSpPr>
          <p:cNvPr id="3083" name="CaixaDeTexto 3082">
            <a:extLst>
              <a:ext uri="{FF2B5EF4-FFF2-40B4-BE49-F238E27FC236}">
                <a16:creationId xmlns:a16="http://schemas.microsoft.com/office/drawing/2014/main" xmlns="" id="{948A0AE1-6C85-9C01-97C7-2067E61338A0}"/>
              </a:ext>
            </a:extLst>
          </p:cNvPr>
          <p:cNvSpPr txBox="1"/>
          <p:nvPr/>
        </p:nvSpPr>
        <p:spPr>
          <a:xfrm>
            <a:off x="8158303" y="5984135"/>
            <a:ext cx="2356347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Federais</a:t>
            </a:r>
          </a:p>
        </p:txBody>
      </p:sp>
      <p:pic>
        <p:nvPicPr>
          <p:cNvPr id="3107" name="Gráfico 3106" descr="Adicionar com preenchimento sólido">
            <a:extLst>
              <a:ext uri="{FF2B5EF4-FFF2-40B4-BE49-F238E27FC236}">
                <a16:creationId xmlns:a16="http://schemas.microsoft.com/office/drawing/2014/main" xmlns="" id="{C2527BE5-136B-B223-53BC-A50E632572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164925" y="6984135"/>
            <a:ext cx="328471" cy="328471"/>
          </a:xfrm>
          <a:prstGeom prst="rect">
            <a:avLst/>
          </a:prstGeom>
        </p:spPr>
      </p:pic>
      <p:sp>
        <p:nvSpPr>
          <p:cNvPr id="3108" name="CaixaDeTexto 3107">
            <a:extLst>
              <a:ext uri="{FF2B5EF4-FFF2-40B4-BE49-F238E27FC236}">
                <a16:creationId xmlns:a16="http://schemas.microsoft.com/office/drawing/2014/main" xmlns="" id="{1EF59B84-0D9B-1816-6F94-26F1AE7D6E20}"/>
              </a:ext>
            </a:extLst>
          </p:cNvPr>
          <p:cNvSpPr txBox="1"/>
          <p:nvPr/>
        </p:nvSpPr>
        <p:spPr>
          <a:xfrm>
            <a:off x="7842391" y="7345250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Estaduais e Municipais</a:t>
            </a:r>
          </a:p>
        </p:txBody>
      </p:sp>
      <p:sp>
        <p:nvSpPr>
          <p:cNvPr id="3109" name="CaixaDeTexto 3108">
            <a:extLst>
              <a:ext uri="{FF2B5EF4-FFF2-40B4-BE49-F238E27FC236}">
                <a16:creationId xmlns:a16="http://schemas.microsoft.com/office/drawing/2014/main" xmlns="" id="{C43106C4-5388-D1E5-A67B-48721E718328}"/>
              </a:ext>
            </a:extLst>
          </p:cNvPr>
          <p:cNvSpPr txBox="1"/>
          <p:nvPr/>
        </p:nvSpPr>
        <p:spPr>
          <a:xfrm>
            <a:off x="8108003" y="8620827"/>
            <a:ext cx="2936411" cy="30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70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líquota</a:t>
            </a:r>
          </a:p>
        </p:txBody>
      </p:sp>
      <p:sp>
        <p:nvSpPr>
          <p:cNvPr id="3111" name="Retângulo 3110">
            <a:extLst>
              <a:ext uri="{FF2B5EF4-FFF2-40B4-BE49-F238E27FC236}">
                <a16:creationId xmlns:a16="http://schemas.microsoft.com/office/drawing/2014/main" xmlns="" id="{3C086F26-DE23-BDE6-9E03-2C7FF239160B}"/>
              </a:ext>
            </a:extLst>
          </p:cNvPr>
          <p:cNvSpPr/>
          <p:nvPr/>
        </p:nvSpPr>
        <p:spPr>
          <a:xfrm>
            <a:off x="7502103" y="7691044"/>
            <a:ext cx="3654116" cy="51982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98" b="1" dirty="0">
                <a:latin typeface="Helvetica" panose="020B0604020202020204" pitchFamily="2" charset="0"/>
              </a:rPr>
              <a:t>IBS</a:t>
            </a:r>
          </a:p>
        </p:txBody>
      </p:sp>
    </p:spTree>
    <p:extLst>
      <p:ext uri="{BB962C8B-B14F-4D97-AF65-F5344CB8AC3E}">
        <p14:creationId xmlns:p14="http://schemas.microsoft.com/office/powerpoint/2010/main" val="3125512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9F56BEC4-F5DD-0E0A-29DD-ACAFB7D9E2F9}"/>
              </a:ext>
            </a:extLst>
          </p:cNvPr>
          <p:cNvSpPr txBox="1"/>
          <p:nvPr/>
        </p:nvSpPr>
        <p:spPr>
          <a:xfrm>
            <a:off x="1238447" y="1977655"/>
            <a:ext cx="17373404" cy="6116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Para manutenção do ritmo de investimentos e da prestação dos serviços, as tarifas </a:t>
            </a: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de água e esgoto </a:t>
            </a:r>
            <a:r>
              <a:rPr lang="pt-BR" sz="2800" b="1" u="sng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precisar</a:t>
            </a:r>
            <a:r>
              <a:rPr lang="pt-BR" sz="2800" b="1" u="sng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ão ser reajustados em 21% </a:t>
            </a: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om forte risco de aumento de inadimplência.</a:t>
            </a:r>
            <a:endParaRPr lang="pt-BR" sz="2800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erca de 90% dos consumidores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de serviços de água e esgoto são </a:t>
            </a: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residenciais,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isto é, os consumidores finais arcarão com a majoração de preços.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s pequenos comércios e indústrias enquadrados no Simples Nacional também experimentarão aumento no preço dos serviços sem aproveitamento de crédito.</a:t>
            </a:r>
            <a:endParaRPr lang="pt-BR" sz="2800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Na hipótese de não repasse dos custos tributários às tarifas, </a:t>
            </a: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correria redução dos investimentos para universalização de cerca de 40%.</a:t>
            </a:r>
            <a:endParaRPr lang="pt-BR" sz="2800" b="1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Os serviços de saneamento são regulados de forma descentralizada, o que exigiria </a:t>
            </a:r>
            <a:r>
              <a:rPr lang="pt-BR" sz="2800" b="1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manifestação das quase 90 agências reguladoras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</a:t>
            </a: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infranacionais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para absorção do aumento </a:t>
            </a: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d</a:t>
            </a:r>
            <a:r>
              <a:rPr lang="pt-BR" sz="2800" dirty="0">
                <a:solidFill>
                  <a:srgbClr val="000000"/>
                </a:solidFill>
                <a:effectLst/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 tributação. O atraso no repasse incorreria em aumento futuro ainda mais expressivo da tarifa a ser suportada pelos usuários.  </a:t>
            </a:r>
            <a:endParaRPr lang="pt-BR" sz="2800" dirty="0">
              <a:effectLst/>
              <a:latin typeface="Helvetica" panose="020B0604020202020204" pitchFamily="2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1235509" y="947837"/>
            <a:ext cx="10186470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Mantido o texto atual (PEC 45)...</a:t>
            </a:r>
          </a:p>
        </p:txBody>
      </p:sp>
    </p:spTree>
    <p:extLst>
      <p:ext uri="{BB962C8B-B14F-4D97-AF65-F5344CB8AC3E}">
        <p14:creationId xmlns:p14="http://schemas.microsoft.com/office/powerpoint/2010/main" val="28459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E161EF-8694-A1BD-2FFF-B3788D97C915}"/>
              </a:ext>
            </a:extLst>
          </p:cNvPr>
          <p:cNvSpPr txBox="1"/>
          <p:nvPr/>
        </p:nvSpPr>
        <p:spPr>
          <a:xfrm>
            <a:off x="678407" y="1123356"/>
            <a:ext cx="17838554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11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Qual caminho seguir para não impactar a tarifa e os investimentos?</a:t>
            </a:r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xmlns="" id="{6C94C42D-9EEF-F9E2-597E-8985A46274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8601110"/>
              </p:ext>
            </p:extLst>
          </p:nvPr>
        </p:nvGraphicFramePr>
        <p:xfrm>
          <a:off x="781144" y="2344592"/>
          <a:ext cx="8816540" cy="55417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7509">
                  <a:extLst>
                    <a:ext uri="{9D8B030D-6E8A-4147-A177-3AD203B41FA5}">
                      <a16:colId xmlns:a16="http://schemas.microsoft.com/office/drawing/2014/main" xmlns="" val="2888638750"/>
                    </a:ext>
                  </a:extLst>
                </a:gridCol>
                <a:gridCol w="1740756">
                  <a:extLst>
                    <a:ext uri="{9D8B030D-6E8A-4147-A177-3AD203B41FA5}">
                      <a16:colId xmlns:a16="http://schemas.microsoft.com/office/drawing/2014/main" xmlns="" val="803111532"/>
                    </a:ext>
                  </a:extLst>
                </a:gridCol>
                <a:gridCol w="2110193">
                  <a:extLst>
                    <a:ext uri="{9D8B030D-6E8A-4147-A177-3AD203B41FA5}">
                      <a16:colId xmlns:a16="http://schemas.microsoft.com/office/drawing/2014/main" xmlns="" val="1949069002"/>
                    </a:ext>
                  </a:extLst>
                </a:gridCol>
                <a:gridCol w="1688082">
                  <a:extLst>
                    <a:ext uri="{9D8B030D-6E8A-4147-A177-3AD203B41FA5}">
                      <a16:colId xmlns:a16="http://schemas.microsoft.com/office/drawing/2014/main" xmlns="" val="3840594087"/>
                    </a:ext>
                  </a:extLst>
                </a:gridCol>
              </a:tblGrid>
              <a:tr h="544597">
                <a:tc gridSpan="4"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CENÁRIOS DE IMPACTOS NO SETO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1135448"/>
                  </a:ext>
                </a:extLst>
              </a:tr>
              <a:tr h="1633792"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Cenári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% Carga tributária/</a:t>
                      </a:r>
                    </a:p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Receit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Variação % da Carga Tributári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fontAlgn="base"/>
                      <a:r>
                        <a:rPr lang="pt-BR" sz="2800" b="1" kern="1200" dirty="0">
                          <a:solidFill>
                            <a:schemeClr val="bg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Impacto na tarif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790302"/>
                  </a:ext>
                </a:extLst>
              </a:tr>
              <a:tr h="1185019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Atual </a:t>
                      </a:r>
                    </a:p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(anterior à Reforma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9,9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21375821"/>
                  </a:ext>
                </a:extLst>
              </a:tr>
              <a:tr h="1089195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Após Reforma (alíquota de 27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10,9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21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67939760"/>
                  </a:ext>
                </a:extLst>
              </a:tr>
              <a:tr h="1089195">
                <a:tc>
                  <a:txBody>
                    <a:bodyPr/>
                    <a:lstStyle/>
                    <a:p>
                      <a:pPr marL="0" algn="l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2800" b="1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Redução de 60% (alíquota de 10,8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fontAlgn="base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4,7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-52,8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b="0" kern="1200" dirty="0">
                          <a:solidFill>
                            <a:schemeClr val="tx1"/>
                          </a:solidFill>
                          <a:latin typeface="DIN Next Rounded LT Pro Bold"/>
                          <a:ea typeface="+mn-ea"/>
                          <a:cs typeface="+mn-cs"/>
                        </a:rPr>
                        <a:t>-0,2%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85785039"/>
                  </a:ext>
                </a:extLst>
              </a:tr>
            </a:tbl>
          </a:graphicData>
        </a:graphic>
      </p:graphicFrame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0BFCC78C-1613-3158-FE30-EC8BD4CE0BA0}"/>
              </a:ext>
            </a:extLst>
          </p:cNvPr>
          <p:cNvSpPr txBox="1"/>
          <p:nvPr/>
        </p:nvSpPr>
        <p:spPr>
          <a:xfrm rot="20789483">
            <a:off x="-165597" y="8913550"/>
            <a:ext cx="6955924" cy="10168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5400" dirty="0">
                <a:solidFill>
                  <a:srgbClr val="FF0000"/>
                </a:solidFill>
                <a:latin typeface="Fave Script Bold Pro" panose="020F050202020403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enário de Neutralidade</a:t>
            </a:r>
          </a:p>
        </p:txBody>
      </p:sp>
      <p:pic>
        <p:nvPicPr>
          <p:cNvPr id="8" name="Gráfico 7" descr="Seta de linha: curva no sentido horário estrutura de tópicos">
            <a:extLst>
              <a:ext uri="{FF2B5EF4-FFF2-40B4-BE49-F238E27FC236}">
                <a16:creationId xmlns:a16="http://schemas.microsoft.com/office/drawing/2014/main" xmlns="" id="{C693A8EB-3400-34C3-A27F-FD9F5C5BAD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7267372" flipH="1">
            <a:off x="940180" y="7808920"/>
            <a:ext cx="1899409" cy="189940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E780335F-07B7-2D12-464A-FEDD360E8340}"/>
              </a:ext>
            </a:extLst>
          </p:cNvPr>
          <p:cNvSpPr txBox="1"/>
          <p:nvPr/>
        </p:nvSpPr>
        <p:spPr>
          <a:xfrm>
            <a:off x="10052050" y="2232296"/>
            <a:ext cx="9135850" cy="6458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líquotas reduzidas em 60%: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Com alíquotas reduzidas em 60%, </a:t>
            </a: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semelhante ao tratamento para serviços de saúde,</a:t>
            </a: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a alíquota de IBS/CBS passaria de 27%, em conjunto, para 10,8%.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 carga tributária do setor cairia para 4,7% da receita, recuo de 52,8% frente aos 9,9% da carga atual. </a:t>
            </a:r>
            <a:r>
              <a:rPr lang="pt-BR" sz="2800" b="1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ssim, o impacto sobre a tarifa praticada ao consumidor se tornaria neutro. </a:t>
            </a: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"/>
            </a:pPr>
            <a:r>
              <a:rPr lang="pt-BR" sz="2800" dirty="0">
                <a:solidFill>
                  <a:srgbClr val="000000"/>
                </a:solidFill>
                <a:latin typeface="Helvetica" panose="020B060402020202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 neutralidade na tarifa se deve especialmente à elevação do preço praticado na aquisição de insumos (bens e serviços) pelas concessionárias de água e esgoto, como efeito da tributação de IBS/CBS.</a:t>
            </a:r>
          </a:p>
        </p:txBody>
      </p:sp>
    </p:spTree>
    <p:extLst>
      <p:ext uri="{BB962C8B-B14F-4D97-AF65-F5344CB8AC3E}">
        <p14:creationId xmlns:p14="http://schemas.microsoft.com/office/powerpoint/2010/main" val="548847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7736E661-5156-8FFC-D7D3-162F2E750149}"/>
              </a:ext>
            </a:extLst>
          </p:cNvPr>
          <p:cNvSpPr txBox="1"/>
          <p:nvPr/>
        </p:nvSpPr>
        <p:spPr>
          <a:xfrm>
            <a:off x="9121649" y="1442787"/>
            <a:ext cx="10463985" cy="737890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>
            <a:defPPr>
              <a:defRPr lang="pt-BR"/>
            </a:defPPr>
            <a:lvl1pPr>
              <a:defRPr sz="4110" b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defRPr>
            </a:lvl1pPr>
          </a:lstStyle>
          <a:p>
            <a:r>
              <a:rPr lang="pt-BR" dirty="0"/>
              <a:t>Por que essa alteração importa?</a:t>
            </a: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xmlns="" id="{EE88D618-62C1-A5A6-B3D9-46FE396250DC}"/>
              </a:ext>
            </a:extLst>
          </p:cNvPr>
          <p:cNvCxnSpPr>
            <a:cxnSpLocks/>
          </p:cNvCxnSpPr>
          <p:nvPr/>
        </p:nvCxnSpPr>
        <p:spPr>
          <a:xfrm>
            <a:off x="13023007" y="3728828"/>
            <a:ext cx="0" cy="5834272"/>
          </a:xfrm>
          <a:prstGeom prst="line">
            <a:avLst/>
          </a:prstGeom>
          <a:ln w="6350">
            <a:solidFill>
              <a:srgbClr val="9CC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Agrupar 57">
            <a:extLst>
              <a:ext uri="{FF2B5EF4-FFF2-40B4-BE49-F238E27FC236}">
                <a16:creationId xmlns:a16="http://schemas.microsoft.com/office/drawing/2014/main" xmlns="" id="{F12BDCC4-63F3-51C5-911B-071AF9386108}"/>
              </a:ext>
            </a:extLst>
          </p:cNvPr>
          <p:cNvGrpSpPr/>
          <p:nvPr/>
        </p:nvGrpSpPr>
        <p:grpSpPr>
          <a:xfrm>
            <a:off x="13576866" y="2784837"/>
            <a:ext cx="5039085" cy="7439163"/>
            <a:chOff x="8517346" y="3199659"/>
            <a:chExt cx="5039085" cy="7439163"/>
          </a:xfrm>
        </p:grpSpPr>
        <p:grpSp>
          <p:nvGrpSpPr>
            <p:cNvPr id="43" name="Agrupar 42">
              <a:extLst>
                <a:ext uri="{FF2B5EF4-FFF2-40B4-BE49-F238E27FC236}">
                  <a16:creationId xmlns:a16="http://schemas.microsoft.com/office/drawing/2014/main" xmlns="" id="{AA5B0C9C-CAC4-C0A1-A9C1-9E06D7F0BDDD}"/>
                </a:ext>
              </a:extLst>
            </p:cNvPr>
            <p:cNvGrpSpPr/>
            <p:nvPr/>
          </p:nvGrpSpPr>
          <p:grpSpPr>
            <a:xfrm>
              <a:off x="8517346" y="3199659"/>
              <a:ext cx="5039085" cy="7439163"/>
              <a:chOff x="12162631" y="2338284"/>
              <a:chExt cx="4413975" cy="6516315"/>
            </a:xfrm>
          </p:grpSpPr>
          <p:sp>
            <p:nvSpPr>
              <p:cNvPr id="38" name="CaixaDeTexto 37">
                <a:extLst>
                  <a:ext uri="{FF2B5EF4-FFF2-40B4-BE49-F238E27FC236}">
                    <a16:creationId xmlns:a16="http://schemas.microsoft.com/office/drawing/2014/main" xmlns="" id="{4D294672-6A8C-0F2D-6699-88D07701BD96}"/>
                  </a:ext>
                </a:extLst>
              </p:cNvPr>
              <p:cNvSpPr txBox="1"/>
              <p:nvPr/>
            </p:nvSpPr>
            <p:spPr>
              <a:xfrm>
                <a:off x="12162631" y="3145427"/>
                <a:ext cx="4136437" cy="2678265"/>
              </a:xfrm>
              <a:prstGeom prst="rect">
                <a:avLst/>
              </a:prstGeom>
              <a:noFill/>
            </p:spPr>
            <p:txBody>
              <a:bodyPr wrap="square" lIns="104390" tIns="52195" rIns="104390" bIns="52195" rtlCol="0" anchor="t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288BB3"/>
                    </a:solidFill>
                    <a:latin typeface="Helvetica" pitchFamily="2" charset="0"/>
                  </a:rPr>
                  <a:t>R$ 1,4 trilhão 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será o ganho no PIB do Brasil até 2033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a partir dos investimentos necessários para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a universalização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Estima-se que o setor de saneamento irá </a:t>
                </a:r>
                <a:r>
                  <a:rPr lang="pt-BR" sz="1827" b="1" dirty="0">
                    <a:solidFill>
                      <a:srgbClr val="288BB3"/>
                    </a:solidFill>
                    <a:latin typeface="Helvetica" pitchFamily="2" charset="0"/>
                  </a:rPr>
                  <a:t>criar R$ 1,5 milhão postos de trabalho </a:t>
                </a:r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diretos e indiretos até 2033 com os investimentos para a universalização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</p:txBody>
          </p:sp>
          <p:sp>
            <p:nvSpPr>
              <p:cNvPr id="39" name="CaixaDeTexto 38">
                <a:extLst>
                  <a:ext uri="{FF2B5EF4-FFF2-40B4-BE49-F238E27FC236}">
                    <a16:creationId xmlns:a16="http://schemas.microsoft.com/office/drawing/2014/main" xmlns="" id="{9F91A37E-E5EB-B205-A4B1-FA8E878FC6FA}"/>
                  </a:ext>
                </a:extLst>
              </p:cNvPr>
              <p:cNvSpPr txBox="1"/>
              <p:nvPr/>
            </p:nvSpPr>
            <p:spPr>
              <a:xfrm>
                <a:off x="12322210" y="2338284"/>
                <a:ext cx="3976858" cy="450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9CC42E"/>
                    </a:solidFill>
                    <a:latin typeface="Helvetica" pitchFamily="2" charset="0"/>
                  </a:rPr>
                  <a:t>Saneamento é economia</a:t>
                </a:r>
              </a:p>
            </p:txBody>
          </p:sp>
          <p:sp>
            <p:nvSpPr>
              <p:cNvPr id="40" name="Retângulo Arredondado 39">
                <a:extLst>
                  <a:ext uri="{FF2B5EF4-FFF2-40B4-BE49-F238E27FC236}">
                    <a16:creationId xmlns:a16="http://schemas.microsoft.com/office/drawing/2014/main" xmlns="" id="{B4DE373D-FDC1-B646-E5DC-0DB9FF9D7EF4}"/>
                  </a:ext>
                </a:extLst>
              </p:cNvPr>
              <p:cNvSpPr/>
              <p:nvPr/>
            </p:nvSpPr>
            <p:spPr>
              <a:xfrm>
                <a:off x="12193364" y="6331871"/>
                <a:ext cx="4383242" cy="2522728"/>
              </a:xfrm>
              <a:prstGeom prst="roundRect">
                <a:avLst>
                  <a:gd name="adj" fmla="val 6546"/>
                </a:avLst>
              </a:prstGeom>
              <a:solidFill>
                <a:srgbClr val="EBF0F3">
                  <a:alpha val="49707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 dirty="0"/>
              </a:p>
            </p:txBody>
          </p:sp>
          <p:sp>
            <p:nvSpPr>
              <p:cNvPr id="41" name="CaixaDeTexto 40">
                <a:extLst>
                  <a:ext uri="{FF2B5EF4-FFF2-40B4-BE49-F238E27FC236}">
                    <a16:creationId xmlns:a16="http://schemas.microsoft.com/office/drawing/2014/main" xmlns="" id="{06272426-EF99-D333-500A-AA0FED6703F2}"/>
                  </a:ext>
                </a:extLst>
              </p:cNvPr>
              <p:cNvSpPr txBox="1"/>
              <p:nvPr/>
            </p:nvSpPr>
            <p:spPr>
              <a:xfrm>
                <a:off x="12568312" y="6489541"/>
                <a:ext cx="3657600" cy="1927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Os investimentos em saneamento básico possuem grande potencial para estimular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economia brasileira devido à extensa capilaridade da cadeia produtiva do setor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e da característica perene e local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dos investimentos.</a:t>
                </a:r>
              </a:p>
              <a:p>
                <a:pPr algn="ctr"/>
                <a:endParaRPr lang="pt-BR" sz="913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trasar os investimentos significa adiar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universalização e os seus ganhos.</a:t>
                </a:r>
              </a:p>
            </p:txBody>
          </p:sp>
        </p:grpSp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xmlns="" id="{797BA3C1-B515-8472-D3B6-2A3E7351CEA1}"/>
                </a:ext>
              </a:extLst>
            </p:cNvPr>
            <p:cNvSpPr txBox="1"/>
            <p:nvPr/>
          </p:nvSpPr>
          <p:spPr>
            <a:xfrm>
              <a:off x="10161836" y="10318922"/>
              <a:ext cx="216086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00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rPr>
                <a:t>Fonte: ABCON SINDCON.</a:t>
              </a:r>
              <a:endParaRPr lang="pt-BR" sz="1100" dirty="0">
                <a:solidFill>
                  <a:srgbClr val="288BB3"/>
                </a:solidFill>
                <a:latin typeface="Helvetica" panose="020B0604020202020204" pitchFamily="2" charset="0"/>
              </a:endParaRPr>
            </a:p>
          </p:txBody>
        </p:sp>
      </p:grpSp>
      <p:grpSp>
        <p:nvGrpSpPr>
          <p:cNvPr id="59" name="Agrupar 58">
            <a:extLst>
              <a:ext uri="{FF2B5EF4-FFF2-40B4-BE49-F238E27FC236}">
                <a16:creationId xmlns:a16="http://schemas.microsoft.com/office/drawing/2014/main" xmlns="" id="{7BA43B0A-2E16-7E28-1E17-33BDD266E452}"/>
              </a:ext>
            </a:extLst>
          </p:cNvPr>
          <p:cNvGrpSpPr/>
          <p:nvPr/>
        </p:nvGrpSpPr>
        <p:grpSpPr>
          <a:xfrm>
            <a:off x="7632000" y="2780598"/>
            <a:ext cx="5004000" cy="8000783"/>
            <a:chOff x="14783575" y="3188881"/>
            <a:chExt cx="5004000" cy="5403706"/>
          </a:xfrm>
        </p:grpSpPr>
        <p:grpSp>
          <p:nvGrpSpPr>
            <p:cNvPr id="44" name="Agrupar 43">
              <a:extLst>
                <a:ext uri="{FF2B5EF4-FFF2-40B4-BE49-F238E27FC236}">
                  <a16:creationId xmlns:a16="http://schemas.microsoft.com/office/drawing/2014/main" xmlns="" id="{674FB50F-23C6-DFAC-A01A-CCFF6A893012}"/>
                </a:ext>
              </a:extLst>
            </p:cNvPr>
            <p:cNvGrpSpPr/>
            <p:nvPr/>
          </p:nvGrpSpPr>
          <p:grpSpPr>
            <a:xfrm>
              <a:off x="14783575" y="3188881"/>
              <a:ext cx="5004000" cy="5403706"/>
              <a:chOff x="6784702" y="2260783"/>
              <a:chExt cx="4383241" cy="4733363"/>
            </a:xfrm>
          </p:grpSpPr>
          <p:sp>
            <p:nvSpPr>
              <p:cNvPr id="31" name="CaixaDeTexto 30">
                <a:extLst>
                  <a:ext uri="{FF2B5EF4-FFF2-40B4-BE49-F238E27FC236}">
                    <a16:creationId xmlns:a16="http://schemas.microsoft.com/office/drawing/2014/main" xmlns="" id="{6424D2B9-0959-92DB-445E-668C5F2F7816}"/>
                  </a:ext>
                </a:extLst>
              </p:cNvPr>
              <p:cNvSpPr txBox="1"/>
              <p:nvPr/>
            </p:nvSpPr>
            <p:spPr>
              <a:xfrm>
                <a:off x="6976269" y="2733975"/>
                <a:ext cx="4014787" cy="2474260"/>
              </a:xfrm>
              <a:prstGeom prst="rect">
                <a:avLst/>
              </a:prstGeom>
              <a:noFill/>
            </p:spPr>
            <p:txBody>
              <a:bodyPr wrap="square" lIns="104390" tIns="52195" rIns="104390" bIns="52195" rtlCol="0" anchor="t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288BB3"/>
                    </a:solidFill>
                    <a:latin typeface="Helvetica" pitchFamily="2" charset="0"/>
                  </a:rPr>
                  <a:t>R$ 25 bilhões 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será a economia total com a melhoria das condições de saúde da população até</a:t>
                </a:r>
              </a:p>
              <a:p>
                <a:pPr algn="ctr"/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2040 devido à universalização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r>
                  <a:rPr lang="pt-BR" sz="1827" b="1" dirty="0">
                    <a:solidFill>
                      <a:srgbClr val="288BB3"/>
                    </a:solidFill>
                    <a:latin typeface="Helvetica" pitchFamily="2" charset="0"/>
                  </a:rPr>
                  <a:t>Para cada US$ 1 investido em saneamento, a Organização Mundial da Saúde estima um retorno de quase seis vezes, </a:t>
                </a:r>
                <a:r>
                  <a:rPr lang="pt-BR" sz="1827" dirty="0">
                    <a:solidFill>
                      <a:srgbClr val="288BB3"/>
                    </a:solidFill>
                    <a:latin typeface="Helvetica" pitchFamily="2" charset="0"/>
                  </a:rPr>
                  <a:t>considerando os menores custos de saúde, aumento da produtividade e um número menor de mortes prematuras.</a:t>
                </a: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  <a:p>
                <a:pPr algn="ctr"/>
                <a:endParaRPr lang="pt-BR" sz="1827" dirty="0">
                  <a:solidFill>
                    <a:srgbClr val="288BB3"/>
                  </a:solidFill>
                  <a:latin typeface="Helvetica" pitchFamily="2" charset="0"/>
                </a:endParaRPr>
              </a:p>
            </p:txBody>
          </p:sp>
          <p:sp>
            <p:nvSpPr>
              <p:cNvPr id="32" name="CaixaDeTexto 31">
                <a:extLst>
                  <a:ext uri="{FF2B5EF4-FFF2-40B4-BE49-F238E27FC236}">
                    <a16:creationId xmlns:a16="http://schemas.microsoft.com/office/drawing/2014/main" xmlns="" id="{009E2584-C0D9-8489-C31A-367AC1407C83}"/>
                  </a:ext>
                </a:extLst>
              </p:cNvPr>
              <p:cNvSpPr txBox="1"/>
              <p:nvPr/>
            </p:nvSpPr>
            <p:spPr>
              <a:xfrm>
                <a:off x="6995231" y="2260783"/>
                <a:ext cx="3976858" cy="450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2740" b="1" dirty="0">
                    <a:solidFill>
                      <a:srgbClr val="9CC42E"/>
                    </a:solidFill>
                    <a:latin typeface="Helvetica" pitchFamily="2" charset="0"/>
                  </a:rPr>
                  <a:t>Saneamento é saúde</a:t>
                </a:r>
              </a:p>
            </p:txBody>
          </p:sp>
          <p:sp>
            <p:nvSpPr>
              <p:cNvPr id="33" name="Retângulo Arredondado 32">
                <a:extLst>
                  <a:ext uri="{FF2B5EF4-FFF2-40B4-BE49-F238E27FC236}">
                    <a16:creationId xmlns:a16="http://schemas.microsoft.com/office/drawing/2014/main" xmlns="" id="{4481A23C-FA78-FEAD-E050-AAE287EECF37}"/>
                  </a:ext>
                </a:extLst>
              </p:cNvPr>
              <p:cNvSpPr/>
              <p:nvPr/>
            </p:nvSpPr>
            <p:spPr>
              <a:xfrm>
                <a:off x="6784702" y="4959911"/>
                <a:ext cx="4383241" cy="1703844"/>
              </a:xfrm>
              <a:prstGeom prst="roundRect">
                <a:avLst>
                  <a:gd name="adj" fmla="val 6546"/>
                </a:avLst>
              </a:prstGeom>
              <a:solidFill>
                <a:srgbClr val="EBF0F3">
                  <a:alpha val="49707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2055" dirty="0"/>
              </a:p>
            </p:txBody>
          </p:sp>
          <p:sp>
            <p:nvSpPr>
              <p:cNvPr id="34" name="CaixaDeTexto 33">
                <a:extLst>
                  <a:ext uri="{FF2B5EF4-FFF2-40B4-BE49-F238E27FC236}">
                    <a16:creationId xmlns:a16="http://schemas.microsoft.com/office/drawing/2014/main" xmlns="" id="{323A86EB-FD5C-F925-4954-5A4BA5A894B8}"/>
                  </a:ext>
                </a:extLst>
              </p:cNvPr>
              <p:cNvSpPr txBox="1"/>
              <p:nvPr/>
            </p:nvSpPr>
            <p:spPr>
              <a:xfrm>
                <a:off x="7154861" y="5067039"/>
                <a:ext cx="3657600" cy="1927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falta de serviços de saneamento tem relação com a incidência de  doenças de veiculação hídrica e  respiratórias. Tais doenças geram custos à sociedade por provocarem afastamentos do trabalho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e despesas com saúde. </a:t>
                </a:r>
              </a:p>
              <a:p>
                <a:pPr algn="ctr"/>
                <a:endParaRPr lang="pt-BR" sz="913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umentar a tributação do setor impacta</a:t>
                </a:r>
              </a:p>
              <a:p>
                <a:pPr algn="ctr"/>
                <a:r>
                  <a:rPr lang="pt-BR" sz="1598" dirty="0">
                    <a:solidFill>
                      <a:srgbClr val="288BB3"/>
                    </a:solidFill>
                    <a:latin typeface="Helvetica" panose="020B06040202020202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a própria despesa pública em saúde.</a:t>
                </a:r>
              </a:p>
            </p:txBody>
          </p:sp>
        </p:grp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xmlns="" id="{71120A61-FC3C-324A-CB9E-3BBED439A1A3}"/>
                </a:ext>
              </a:extLst>
            </p:cNvPr>
            <p:cNvSpPr txBox="1"/>
            <p:nvPr/>
          </p:nvSpPr>
          <p:spPr>
            <a:xfrm>
              <a:off x="16530153" y="7974722"/>
              <a:ext cx="2251948" cy="1766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00" dirty="0">
                  <a:solidFill>
                    <a:srgbClr val="288BB3"/>
                  </a:solidFill>
                  <a:latin typeface="Helvetica" panose="020B0604020202020204" pitchFamily="2" charset="0"/>
                  <a:ea typeface="Calibri" panose="020F0502020204030204" pitchFamily="34" charset="0"/>
                  <a:cs typeface="Arial" panose="020B0604020202020204" pitchFamily="34" charset="0"/>
                </a:rPr>
                <a:t>Fonte: Instituto Trata Brasil.</a:t>
              </a:r>
              <a:endParaRPr lang="pt-BR" sz="1100" dirty="0">
                <a:solidFill>
                  <a:srgbClr val="288BB3"/>
                </a:solidFill>
                <a:latin typeface="Helvetica" panose="020B0604020202020204" pitchFamily="2" charset="0"/>
              </a:endParaRPr>
            </a:p>
          </p:txBody>
        </p:sp>
      </p:grpSp>
      <p:sp>
        <p:nvSpPr>
          <p:cNvPr id="23" name="Elipse 22">
            <a:extLst>
              <a:ext uri="{FF2B5EF4-FFF2-40B4-BE49-F238E27FC236}">
                <a16:creationId xmlns:a16="http://schemas.microsoft.com/office/drawing/2014/main" xmlns="" id="{7BC90279-03A7-914C-8B7A-1A29BC36AB92}"/>
              </a:ext>
            </a:extLst>
          </p:cNvPr>
          <p:cNvSpPr/>
          <p:nvPr/>
        </p:nvSpPr>
        <p:spPr>
          <a:xfrm>
            <a:off x="241831" y="1064550"/>
            <a:ext cx="4390544" cy="4390544"/>
          </a:xfrm>
          <a:prstGeom prst="ellipse">
            <a:avLst/>
          </a:prstGeom>
          <a:solidFill>
            <a:srgbClr val="348F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7" name="Imagem 26" descr="Casa com jardim na frente&#10;&#10;Descrição gerada automaticamente">
            <a:extLst>
              <a:ext uri="{FF2B5EF4-FFF2-40B4-BE49-F238E27FC236}">
                <a16:creationId xmlns:a16="http://schemas.microsoft.com/office/drawing/2014/main" xmlns="" id="{9A21F574-E268-4A2B-D3F6-FEAFBD45C9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3" t="6082" r="19188"/>
          <a:stretch>
            <a:fillRect/>
          </a:stretch>
        </p:blipFill>
        <p:spPr>
          <a:xfrm>
            <a:off x="1536094" y="1022770"/>
            <a:ext cx="5754234" cy="5754234"/>
          </a:xfrm>
          <a:custGeom>
            <a:avLst/>
            <a:gdLst>
              <a:gd name="connsiteX0" fmla="*/ 2877117 w 5754234"/>
              <a:gd name="connsiteY0" fmla="*/ 0 h 5754234"/>
              <a:gd name="connsiteX1" fmla="*/ 5754234 w 5754234"/>
              <a:gd name="connsiteY1" fmla="*/ 2877117 h 5754234"/>
              <a:gd name="connsiteX2" fmla="*/ 2877117 w 5754234"/>
              <a:gd name="connsiteY2" fmla="*/ 5754234 h 5754234"/>
              <a:gd name="connsiteX3" fmla="*/ 0 w 5754234"/>
              <a:gd name="connsiteY3" fmla="*/ 2877117 h 5754234"/>
              <a:gd name="connsiteX4" fmla="*/ 2877117 w 5754234"/>
              <a:gd name="connsiteY4" fmla="*/ 0 h 5754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54234" h="5754234">
                <a:moveTo>
                  <a:pt x="2877117" y="0"/>
                </a:moveTo>
                <a:cubicBezTo>
                  <a:pt x="4466105" y="0"/>
                  <a:pt x="5754234" y="1288129"/>
                  <a:pt x="5754234" y="2877117"/>
                </a:cubicBezTo>
                <a:cubicBezTo>
                  <a:pt x="5754234" y="4466105"/>
                  <a:pt x="4466105" y="5754234"/>
                  <a:pt x="2877117" y="5754234"/>
                </a:cubicBezTo>
                <a:cubicBezTo>
                  <a:pt x="1288129" y="5754234"/>
                  <a:pt x="0" y="4466105"/>
                  <a:pt x="0" y="2877117"/>
                </a:cubicBezTo>
                <a:cubicBezTo>
                  <a:pt x="0" y="1288129"/>
                  <a:pt x="1288129" y="0"/>
                  <a:pt x="2877117" y="0"/>
                </a:cubicBez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xmlns="" id="{ED8E2DC6-8AA9-8452-A52A-DF7E903CD249}"/>
              </a:ext>
            </a:extLst>
          </p:cNvPr>
          <p:cNvCxnSpPr>
            <a:cxnSpLocks/>
          </p:cNvCxnSpPr>
          <p:nvPr/>
        </p:nvCxnSpPr>
        <p:spPr>
          <a:xfrm>
            <a:off x="4045675" y="2981888"/>
            <a:ext cx="586699" cy="0"/>
          </a:xfrm>
          <a:prstGeom prst="line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xmlns="" id="{1F3CAC54-3227-91D1-DD0E-30389CB76A0E}"/>
              </a:ext>
            </a:extLst>
          </p:cNvPr>
          <p:cNvCxnSpPr>
            <a:cxnSpLocks/>
          </p:cNvCxnSpPr>
          <p:nvPr/>
        </p:nvCxnSpPr>
        <p:spPr>
          <a:xfrm>
            <a:off x="2064064" y="2981888"/>
            <a:ext cx="1689533" cy="0"/>
          </a:xfrm>
          <a:prstGeom prst="line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xmlns="" id="{0EE045C3-9CC1-5F07-018C-1D153C902628}"/>
              </a:ext>
            </a:extLst>
          </p:cNvPr>
          <p:cNvCxnSpPr>
            <a:cxnSpLocks/>
          </p:cNvCxnSpPr>
          <p:nvPr/>
        </p:nvCxnSpPr>
        <p:spPr>
          <a:xfrm>
            <a:off x="792566" y="2981888"/>
            <a:ext cx="838692" cy="0"/>
          </a:xfrm>
          <a:prstGeom prst="line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ipse 34">
            <a:extLst>
              <a:ext uri="{FF2B5EF4-FFF2-40B4-BE49-F238E27FC236}">
                <a16:creationId xmlns:a16="http://schemas.microsoft.com/office/drawing/2014/main" xmlns="" id="{B58DFB08-D7AE-67BA-7EC8-76B0CF85A900}"/>
              </a:ext>
            </a:extLst>
          </p:cNvPr>
          <p:cNvSpPr/>
          <p:nvPr/>
        </p:nvSpPr>
        <p:spPr>
          <a:xfrm>
            <a:off x="1122829" y="2892807"/>
            <a:ext cx="178163" cy="178163"/>
          </a:xfrm>
          <a:prstGeom prst="ellipse">
            <a:avLst/>
          </a:prstGeom>
          <a:solidFill>
            <a:srgbClr val="C4BD97"/>
          </a:solidFill>
          <a:ln>
            <a:noFill/>
          </a:ln>
          <a:effectLst>
            <a:outerShdw blurRad="177800" dist="228600" dir="270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>
              <a:solidFill>
                <a:prstClr val="white"/>
              </a:solidFill>
              <a:latin typeface="Helvetica" panose="020B0604020202020204" pitchFamily="2" charset="0"/>
            </a:endParaRPr>
          </a:p>
        </p:txBody>
      </p:sp>
      <p:sp>
        <p:nvSpPr>
          <p:cNvPr id="37" name="Arco 36">
            <a:extLst>
              <a:ext uri="{FF2B5EF4-FFF2-40B4-BE49-F238E27FC236}">
                <a16:creationId xmlns:a16="http://schemas.microsoft.com/office/drawing/2014/main" xmlns="" id="{510B9A79-2165-52E0-A8DC-39F6189D0641}"/>
              </a:ext>
            </a:extLst>
          </p:cNvPr>
          <p:cNvSpPr/>
          <p:nvPr/>
        </p:nvSpPr>
        <p:spPr>
          <a:xfrm flipH="1">
            <a:off x="26406" y="2981888"/>
            <a:ext cx="724401" cy="724401"/>
          </a:xfrm>
          <a:prstGeom prst="arc">
            <a:avLst/>
          </a:prstGeom>
          <a:ln w="12700">
            <a:solidFill>
              <a:srgbClr val="264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57">
              <a:defRPr/>
            </a:pPr>
            <a:endParaRPr lang="pt-BR" sz="1801">
              <a:solidFill>
                <a:prstClr val="black"/>
              </a:solidFill>
              <a:latin typeface="Helvetica" panose="020B0604020202020204" pitchFamily="2" charset="0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67D56C1A-363E-82ED-3C22-D797BA7D9DA3}"/>
              </a:ext>
            </a:extLst>
          </p:cNvPr>
          <p:cNvSpPr/>
          <p:nvPr/>
        </p:nvSpPr>
        <p:spPr>
          <a:xfrm>
            <a:off x="4279421" y="2848098"/>
            <a:ext cx="267580" cy="267580"/>
          </a:xfrm>
          <a:prstGeom prst="ellipse">
            <a:avLst/>
          </a:prstGeom>
          <a:solidFill>
            <a:srgbClr val="C4BD97"/>
          </a:solidFill>
          <a:ln>
            <a:noFill/>
          </a:ln>
          <a:effectLst>
            <a:outerShdw blurRad="177800" dist="228600" dir="270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7">
              <a:defRPr/>
            </a:pPr>
            <a:endParaRPr lang="en-US" sz="1801">
              <a:solidFill>
                <a:prstClr val="white"/>
              </a:solidFill>
              <a:latin typeface="Helvetica" panose="020B0604020202020204" pitchFamily="2" charset="0"/>
            </a:endParaRP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xmlns="" id="{F28316A4-1AA7-356D-9830-38E1383715BF}"/>
              </a:ext>
            </a:extLst>
          </p:cNvPr>
          <p:cNvSpPr txBox="1"/>
          <p:nvPr/>
        </p:nvSpPr>
        <p:spPr>
          <a:xfrm rot="351154" flipH="1">
            <a:off x="-12792" y="8046709"/>
            <a:ext cx="695592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algn="ctr"/>
            <a:r>
              <a:rPr lang="pt-BR" sz="4800" dirty="0">
                <a:solidFill>
                  <a:srgbClr val="FF0000"/>
                </a:solidFill>
                <a:latin typeface="Fave Script Bold Pro" panose="020F050202020403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A falta de saneamento é responsável</a:t>
            </a:r>
          </a:p>
          <a:p>
            <a:pPr marL="228600" algn="ctr"/>
            <a:r>
              <a:rPr lang="pt-BR" sz="4800" dirty="0">
                <a:solidFill>
                  <a:srgbClr val="FF0000"/>
                </a:solidFill>
                <a:latin typeface="Fave Script Bold Pro" panose="020F0502020204030204" pitchFamily="2" charset="0"/>
                <a:ea typeface="Yu Mincho" panose="02020400000000000000" pitchFamily="18" charset="-128"/>
                <a:cs typeface="Times New Roman" panose="02020603050405020304" pitchFamily="18" charset="0"/>
              </a:rPr>
              <a:t> por quase 130 mil internações ao ano.</a:t>
            </a:r>
          </a:p>
        </p:txBody>
      </p:sp>
      <p:pic>
        <p:nvPicPr>
          <p:cNvPr id="76" name="Gráfico 75" descr="Seta de linha: curva no sentido horário estrutura de tópicos">
            <a:extLst>
              <a:ext uri="{FF2B5EF4-FFF2-40B4-BE49-F238E27FC236}">
                <a16:creationId xmlns:a16="http://schemas.microsoft.com/office/drawing/2014/main" xmlns="" id="{22B0D35E-27E9-BC61-1657-DB3C285548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16200000">
            <a:off x="6378063" y="7663691"/>
            <a:ext cx="1899409" cy="189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37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45" grpId="0" animBg="1"/>
      <p:bldP spid="7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exture Images | Free Vectors, Stock Photos &amp;amp; PSD">
            <a:extLst>
              <a:ext uri="{FF2B5EF4-FFF2-40B4-BE49-F238E27FC236}">
                <a16:creationId xmlns:a16="http://schemas.microsoft.com/office/drawing/2014/main" xmlns="" id="{EF186FF3-C5DA-45E1-B63E-888991987C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34" b="9695"/>
          <a:stretch/>
        </p:blipFill>
        <p:spPr bwMode="auto">
          <a:xfrm>
            <a:off x="738" y="2907"/>
            <a:ext cx="20102656" cy="11305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object 8">
            <a:extLst>
              <a:ext uri="{FF2B5EF4-FFF2-40B4-BE49-F238E27FC236}">
                <a16:creationId xmlns:a16="http://schemas.microsoft.com/office/drawing/2014/main" xmlns="" id="{50AC309F-B96F-4201-9F8C-FC66673A9DE2}"/>
              </a:ext>
            </a:extLst>
          </p:cNvPr>
          <p:cNvPicPr/>
          <p:nvPr/>
        </p:nvPicPr>
        <p:blipFill rotWithShape="1">
          <a:blip r:embed="rId3" cstate="print"/>
          <a:srcRect l="25234" r="-25234"/>
          <a:stretch/>
        </p:blipFill>
        <p:spPr>
          <a:xfrm>
            <a:off x="3911101" y="3577221"/>
            <a:ext cx="17312118" cy="415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4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503565755BE847B8BF0A7C6F898FFE" ma:contentTypeVersion="17" ma:contentTypeDescription="Create a new document." ma:contentTypeScope="" ma:versionID="8ffba8b28547cefa81a1a99927af9028">
  <xsd:schema xmlns:xsd="http://www.w3.org/2001/XMLSchema" xmlns:xs="http://www.w3.org/2001/XMLSchema" xmlns:p="http://schemas.microsoft.com/office/2006/metadata/properties" xmlns:ns2="5db8b3d2-b774-433c-9081-e81924795c15" xmlns:ns3="1ee198d2-db16-44ea-916b-1ea011b34cea" targetNamespace="http://schemas.microsoft.com/office/2006/metadata/properties" ma:root="true" ma:fieldsID="a74804864f75678187d87a45d546c764" ns2:_="" ns3:_="">
    <xsd:import namespace="5db8b3d2-b774-433c-9081-e81924795c15"/>
    <xsd:import namespace="1ee198d2-db16-44ea-916b-1ea011b34c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b8b3d2-b774-433c-9081-e81924795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c635b15-4d96-416a-9cde-4e66189d13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e198d2-db16-44ea-916b-1ea011b34ce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4195d05-bd9a-4b00-9633-3c954bfc6488}" ma:internalName="TaxCatchAll" ma:showField="CatchAllData" ma:web="1ee198d2-db16-44ea-916b-1ea011b34ce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ee198d2-db16-44ea-916b-1ea011b34cea" xsi:nil="true"/>
    <lcf76f155ced4ddcb4097134ff3c332f xmlns="5db8b3d2-b774-433c-9081-e81924795c1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DDF11B-8647-4182-9F0A-9AA5722E7C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b8b3d2-b774-433c-9081-e81924795c15"/>
    <ds:schemaRef ds:uri="1ee198d2-db16-44ea-916b-1ea011b34c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D6652CA-003D-4B77-8A26-56C314097496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ee198d2-db16-44ea-916b-1ea011b34cea"/>
    <ds:schemaRef ds:uri="5db8b3d2-b774-433c-9081-e81924795c1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E33C979-5AD4-4781-8378-E474569D10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98</TotalTime>
  <Words>1007</Words>
  <Application>Microsoft Office PowerPoint</Application>
  <PresentationFormat>Personalizar</PresentationFormat>
  <Paragraphs>139</Paragraphs>
  <Slides>8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21" baseType="lpstr">
      <vt:lpstr>Arial</vt:lpstr>
      <vt:lpstr>Calibri</vt:lpstr>
      <vt:lpstr>DIN Next Rounded LT Pro Bold</vt:lpstr>
      <vt:lpstr>DIN Next Rounded LT Pro Light</vt:lpstr>
      <vt:lpstr>Fave Script Bold Pro</vt:lpstr>
      <vt:lpstr>Helvetica</vt:lpstr>
      <vt:lpstr>Segoe UI</vt:lpstr>
      <vt:lpstr>Segoe UI Black</vt:lpstr>
      <vt:lpstr>Times New Roman</vt:lpstr>
      <vt:lpstr>Wingdings</vt:lpstr>
      <vt:lpstr>Yu Mincho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NORAMA</dc:title>
  <dc:creator>IDEAPAD 330</dc:creator>
  <cp:lastModifiedBy>Bruno Duarte Mascarenhas Rocha</cp:lastModifiedBy>
  <cp:revision>3</cp:revision>
  <dcterms:created xsi:type="dcterms:W3CDTF">2021-08-09T21:15:57Z</dcterms:created>
  <dcterms:modified xsi:type="dcterms:W3CDTF">2023-08-30T17:5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8-09T00:00:00Z</vt:filetime>
  </property>
  <property fmtid="{D5CDD505-2E9C-101B-9397-08002B2CF9AE}" pid="3" name="Creator">
    <vt:lpwstr>Adobe InDesign 16.3 (Windows)</vt:lpwstr>
  </property>
  <property fmtid="{D5CDD505-2E9C-101B-9397-08002B2CF9AE}" pid="4" name="LastSaved">
    <vt:filetime>2021-08-09T00:00:00Z</vt:filetime>
  </property>
  <property fmtid="{D5CDD505-2E9C-101B-9397-08002B2CF9AE}" pid="5" name="ContentTypeId">
    <vt:lpwstr>0x01010017503565755BE847B8BF0A7C6F898FFE</vt:lpwstr>
  </property>
  <property fmtid="{D5CDD505-2E9C-101B-9397-08002B2CF9AE}" pid="6" name="MediaServiceImageTags">
    <vt:lpwstr/>
  </property>
</Properties>
</file>